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7"/>
  </p:notesMasterIdLst>
  <p:sldIdLst>
    <p:sldId id="258" r:id="rId5"/>
    <p:sldId id="257" r:id="rId6"/>
    <p:sldId id="262" r:id="rId7"/>
    <p:sldId id="2408" r:id="rId8"/>
    <p:sldId id="2410" r:id="rId9"/>
    <p:sldId id="2411" r:id="rId10"/>
    <p:sldId id="2412" r:id="rId11"/>
    <p:sldId id="2416" r:id="rId12"/>
    <p:sldId id="2413" r:id="rId13"/>
    <p:sldId id="2414" r:id="rId14"/>
    <p:sldId id="2415" r:id="rId15"/>
    <p:sldId id="2409" r:id="rId16"/>
  </p:sldIdLst>
  <p:sldSz cx="12192000" cy="6858000"/>
  <p:notesSz cx="6858000" cy="9144000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GUIA" id="{15D6A7BB-CFFF-4E24-883D-55CA9E8C505C}">
          <p14:sldIdLst>
            <p14:sldId id="258"/>
          </p14:sldIdLst>
        </p14:section>
        <p14:section name="0. Capa e Agenda" id="{79605AF9-E744-4C49-889F-D1FC2CB96171}">
          <p14:sldIdLst>
            <p14:sldId id="257"/>
            <p14:sldId id="262"/>
          </p14:sldIdLst>
        </p14:section>
        <p14:section name="1. Visão Geral - Resumo Executivo" id="{F7F22E42-EEAF-4763-B9AA-66BACE85ACEF}">
          <p14:sldIdLst>
            <p14:sldId id="2408"/>
          </p14:sldIdLst>
        </p14:section>
        <p14:section name="2. Produto" id="{525B3A4C-634C-481B-8ABD-EBF78F8B5B4D}">
          <p14:sldIdLst>
            <p14:sldId id="2410"/>
          </p14:sldIdLst>
        </p14:section>
        <p14:section name="3. Avaliação de Mercado" id="{A3E010DD-A6B7-4583-AC00-5A33984E790E}">
          <p14:sldIdLst>
            <p14:sldId id="2411"/>
          </p14:sldIdLst>
        </p14:section>
        <p14:section name="4. Indicadores e Checkpoints" id="{175A3572-3B0B-41AE-9828-3DF6F470FCB6}">
          <p14:sldIdLst>
            <p14:sldId id="2412"/>
          </p14:sldIdLst>
        </p14:section>
        <p14:section name="5. Cronograma" id="{D5339D0D-452E-4248-9957-EBFCBD8B199E}">
          <p14:sldIdLst>
            <p14:sldId id="2416"/>
            <p14:sldId id="2413"/>
          </p14:sldIdLst>
        </p14:section>
        <p14:section name="6. Custos e Contrapartidas" id="{ACBBEABF-578B-4309-A047-F2B056183CC3}">
          <p14:sldIdLst>
            <p14:sldId id="2414"/>
            <p14:sldId id="2415"/>
          </p14:sldIdLst>
        </p14:section>
        <p14:section name="0. Fechamento" id="{12F2E14B-94E8-4219-8048-0005B09C7F96}">
          <p14:sldIdLst>
            <p14:sldId id="240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9A93E48-617E-BCC4-2704-76F79E13BF1E}" name="Caio Oriente Pereira" initials="CO" userId="S::caio.pereira@cpfl.com.br::cf0d9a0a-e124-4c03-aa21-7658adfbd4b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0C342"/>
    <a:srgbClr val="01704E"/>
    <a:srgbClr val="2F528F"/>
    <a:srgbClr val="2E75B6"/>
    <a:srgbClr val="002060"/>
    <a:srgbClr val="97A8C7"/>
    <a:srgbClr val="F2F2F2"/>
    <a:srgbClr val="96BADA"/>
    <a:srgbClr val="7F8FAF"/>
    <a:srgbClr val="C9D9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25AF431-BEE9-4A0A-A935-00F89D84F9A0}" v="40" dt="2023-10-11T18:37:22.4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Estilo Médio 2 - Ênfas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959" autoAdjust="0"/>
    <p:restoredTop sz="96727" autoAdjust="0"/>
  </p:normalViewPr>
  <p:slideViewPr>
    <p:cSldViewPr snapToGrid="0">
      <p:cViewPr varScale="1">
        <p:scale>
          <a:sx n="115" d="100"/>
          <a:sy n="115" d="100"/>
        </p:scale>
        <p:origin x="120" y="2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io Oriente Pereira" userId="cf0d9a0a-e124-4c03-aa21-7658adfbd4b5" providerId="ADAL" clId="{75441B16-FE08-4556-BAC4-BFB7AB5FC131}"/>
    <pc:docChg chg="undo redo custSel addSld delSld modSld sldOrd delMainMaster modMainMaster addSection delSection modSection replTag">
      <pc:chgData name="Caio Oriente Pereira" userId="cf0d9a0a-e124-4c03-aa21-7658adfbd4b5" providerId="ADAL" clId="{75441B16-FE08-4556-BAC4-BFB7AB5FC131}" dt="2023-10-05T18:27:19.585" v="3470"/>
      <pc:docMkLst>
        <pc:docMk/>
      </pc:docMkLst>
      <pc:sldChg chg="addSp delSp modSp mod modNotesTx">
        <pc:chgData name="Caio Oriente Pereira" userId="cf0d9a0a-e124-4c03-aa21-7658adfbd4b5" providerId="ADAL" clId="{75441B16-FE08-4556-BAC4-BFB7AB5FC131}" dt="2023-10-03T19:45:56.428" v="1444" actId="20577"/>
        <pc:sldMkLst>
          <pc:docMk/>
          <pc:sldMk cId="613546705" sldId="257"/>
        </pc:sldMkLst>
        <pc:spChg chg="add del mod topLvl">
          <ac:chgData name="Caio Oriente Pereira" userId="cf0d9a0a-e124-4c03-aa21-7658adfbd4b5" providerId="ADAL" clId="{75441B16-FE08-4556-BAC4-BFB7AB5FC131}" dt="2023-09-29T11:59:17.999" v="238" actId="207"/>
          <ac:spMkLst>
            <pc:docMk/>
            <pc:sldMk cId="613546705" sldId="257"/>
            <ac:spMk id="3" creationId="{00C009F6-494D-2A97-487A-2B2C8E3F80D6}"/>
          </ac:spMkLst>
        </pc:spChg>
        <pc:spChg chg="add del mod topLvl">
          <ac:chgData name="Caio Oriente Pereira" userId="cf0d9a0a-e124-4c03-aa21-7658adfbd4b5" providerId="ADAL" clId="{75441B16-FE08-4556-BAC4-BFB7AB5FC131}" dt="2023-09-29T15:03:01.280" v="1374" actId="207"/>
          <ac:spMkLst>
            <pc:docMk/>
            <pc:sldMk cId="613546705" sldId="257"/>
            <ac:spMk id="4" creationId="{E56B6223-0F23-4D87-3D46-2B2E657E6D6A}"/>
          </ac:spMkLst>
        </pc:spChg>
        <pc:spChg chg="add del mod topLvl">
          <ac:chgData name="Caio Oriente Pereira" userId="cf0d9a0a-e124-4c03-aa21-7658adfbd4b5" providerId="ADAL" clId="{75441B16-FE08-4556-BAC4-BFB7AB5FC131}" dt="2023-09-28T19:44:40.215" v="34" actId="255"/>
          <ac:spMkLst>
            <pc:docMk/>
            <pc:sldMk cId="613546705" sldId="257"/>
            <ac:spMk id="5" creationId="{E9644F98-C0F2-8EFB-91B9-D03C52C46473}"/>
          </ac:spMkLst>
        </pc:spChg>
        <pc:spChg chg="mod topLvl">
          <ac:chgData name="Caio Oriente Pereira" userId="cf0d9a0a-e124-4c03-aa21-7658adfbd4b5" providerId="ADAL" clId="{75441B16-FE08-4556-BAC4-BFB7AB5FC131}" dt="2023-09-29T12:05:41.261" v="247" actId="1035"/>
          <ac:spMkLst>
            <pc:docMk/>
            <pc:sldMk cId="613546705" sldId="257"/>
            <ac:spMk id="6" creationId="{A3B88074-1C3D-E3B1-4ACA-2EC62AB06CB6}"/>
          </ac:spMkLst>
        </pc:spChg>
        <pc:grpChg chg="del mod">
          <ac:chgData name="Caio Oriente Pereira" userId="cf0d9a0a-e124-4c03-aa21-7658adfbd4b5" providerId="ADAL" clId="{75441B16-FE08-4556-BAC4-BFB7AB5FC131}" dt="2023-09-28T19:43:18.756" v="2" actId="165"/>
          <ac:grpSpMkLst>
            <pc:docMk/>
            <pc:sldMk cId="613546705" sldId="257"/>
            <ac:grpSpMk id="2" creationId="{7821DF8F-CAFC-A057-3E0D-CAB32808EE89}"/>
          </ac:grpSpMkLst>
        </pc:grpChg>
        <pc:picChg chg="mod">
          <ac:chgData name="Caio Oriente Pereira" userId="cf0d9a0a-e124-4c03-aa21-7658adfbd4b5" providerId="ADAL" clId="{75441B16-FE08-4556-BAC4-BFB7AB5FC131}" dt="2023-09-29T12:05:51.771" v="249" actId="14100"/>
          <ac:picMkLst>
            <pc:docMk/>
            <pc:sldMk cId="613546705" sldId="257"/>
            <ac:picMk id="26" creationId="{8959DDB1-68E0-F67E-7D9B-14A48D98078F}"/>
          </ac:picMkLst>
        </pc:picChg>
      </pc:sldChg>
      <pc:sldChg chg="modSp add mod">
        <pc:chgData name="Caio Oriente Pereira" userId="cf0d9a0a-e124-4c03-aa21-7658adfbd4b5" providerId="ADAL" clId="{75441B16-FE08-4556-BAC4-BFB7AB5FC131}" dt="2023-10-03T18:17:59.412" v="1398" actId="20577"/>
        <pc:sldMkLst>
          <pc:docMk/>
          <pc:sldMk cId="4258814762" sldId="262"/>
        </pc:sldMkLst>
        <pc:spChg chg="mod">
          <ac:chgData name="Caio Oriente Pereira" userId="cf0d9a0a-e124-4c03-aa21-7658adfbd4b5" providerId="ADAL" clId="{75441B16-FE08-4556-BAC4-BFB7AB5FC131}" dt="2023-09-29T12:16:26.040" v="450" actId="552"/>
          <ac:spMkLst>
            <pc:docMk/>
            <pc:sldMk cId="4258814762" sldId="262"/>
            <ac:spMk id="4" creationId="{75F2FDCB-E6A7-D256-8955-8892963E64D2}"/>
          </ac:spMkLst>
        </pc:spChg>
        <pc:spChg chg="mod">
          <ac:chgData name="Caio Oriente Pereira" userId="cf0d9a0a-e124-4c03-aa21-7658adfbd4b5" providerId="ADAL" clId="{75441B16-FE08-4556-BAC4-BFB7AB5FC131}" dt="2023-10-03T18:17:59.412" v="1398" actId="20577"/>
          <ac:spMkLst>
            <pc:docMk/>
            <pc:sldMk cId="4258814762" sldId="262"/>
            <ac:spMk id="13" creationId="{7AB7744D-41FD-6211-89E8-61B76742CC36}"/>
          </ac:spMkLst>
        </pc:spChg>
        <pc:picChg chg="mod">
          <ac:chgData name="Caio Oriente Pereira" userId="cf0d9a0a-e124-4c03-aa21-7658adfbd4b5" providerId="ADAL" clId="{75441B16-FE08-4556-BAC4-BFB7AB5FC131}" dt="2023-09-29T12:16:25.509" v="449" actId="1038"/>
          <ac:picMkLst>
            <pc:docMk/>
            <pc:sldMk cId="4258814762" sldId="262"/>
            <ac:picMk id="5" creationId="{B939424E-0C1D-16A9-8108-531726EA05EC}"/>
          </ac:picMkLst>
        </pc:picChg>
        <pc:cxnChg chg="mod">
          <ac:chgData name="Caio Oriente Pereira" userId="cf0d9a0a-e124-4c03-aa21-7658adfbd4b5" providerId="ADAL" clId="{75441B16-FE08-4556-BAC4-BFB7AB5FC131}" dt="2023-09-29T12:16:25.107" v="448" actId="14100"/>
          <ac:cxnSpMkLst>
            <pc:docMk/>
            <pc:sldMk cId="4258814762" sldId="262"/>
            <ac:cxnSpMk id="11" creationId="{6232DE98-A8FB-7076-5EEC-63F3732C7066}"/>
          </ac:cxnSpMkLst>
        </pc:cxnChg>
        <pc:cxnChg chg="mod">
          <ac:chgData name="Caio Oriente Pereira" userId="cf0d9a0a-e124-4c03-aa21-7658adfbd4b5" providerId="ADAL" clId="{75441B16-FE08-4556-BAC4-BFB7AB5FC131}" dt="2023-09-29T12:16:24.729" v="447" actId="14100"/>
          <ac:cxnSpMkLst>
            <pc:docMk/>
            <pc:sldMk cId="4258814762" sldId="262"/>
            <ac:cxnSpMk id="12" creationId="{8D64C9E9-A799-CD8A-AA8B-F6FECB7321BA}"/>
          </ac:cxnSpMkLst>
        </pc:cxnChg>
      </pc:sldChg>
      <pc:sldChg chg="delSp modSp del mod">
        <pc:chgData name="Caio Oriente Pereira" userId="cf0d9a0a-e124-4c03-aa21-7658adfbd4b5" providerId="ADAL" clId="{75441B16-FE08-4556-BAC4-BFB7AB5FC131}" dt="2023-10-03T19:50:56.069" v="1505" actId="47"/>
        <pc:sldMkLst>
          <pc:docMk/>
          <pc:sldMk cId="1417566644" sldId="264"/>
        </pc:sldMkLst>
        <pc:spChg chg="mod">
          <ac:chgData name="Caio Oriente Pereira" userId="cf0d9a0a-e124-4c03-aa21-7658adfbd4b5" providerId="ADAL" clId="{75441B16-FE08-4556-BAC4-BFB7AB5FC131}" dt="2023-10-03T19:50:29.604" v="1502" actId="1076"/>
          <ac:spMkLst>
            <pc:docMk/>
            <pc:sldMk cId="1417566644" sldId="264"/>
            <ac:spMk id="3" creationId="{F06F3CB9-5BCE-28A6-89D4-0D99BDF00B88}"/>
          </ac:spMkLst>
        </pc:spChg>
        <pc:spChg chg="del">
          <ac:chgData name="Caio Oriente Pereira" userId="cf0d9a0a-e124-4c03-aa21-7658adfbd4b5" providerId="ADAL" clId="{75441B16-FE08-4556-BAC4-BFB7AB5FC131}" dt="2023-10-03T18:53:56.766" v="1399" actId="478"/>
          <ac:spMkLst>
            <pc:docMk/>
            <pc:sldMk cId="1417566644" sldId="264"/>
            <ac:spMk id="11" creationId="{E80A3EC1-7744-411D-172D-26CC6F26C082}"/>
          </ac:spMkLst>
        </pc:spChg>
        <pc:spChg chg="del">
          <ac:chgData name="Caio Oriente Pereira" userId="cf0d9a0a-e124-4c03-aa21-7658adfbd4b5" providerId="ADAL" clId="{75441B16-FE08-4556-BAC4-BFB7AB5FC131}" dt="2023-10-03T18:53:56.766" v="1399" actId="478"/>
          <ac:spMkLst>
            <pc:docMk/>
            <pc:sldMk cId="1417566644" sldId="264"/>
            <ac:spMk id="12" creationId="{BD6A0498-5B3C-E2F6-DCC2-E878466A33EA}"/>
          </ac:spMkLst>
        </pc:spChg>
        <pc:picChg chg="mod">
          <ac:chgData name="Caio Oriente Pereira" userId="cf0d9a0a-e124-4c03-aa21-7658adfbd4b5" providerId="ADAL" clId="{75441B16-FE08-4556-BAC4-BFB7AB5FC131}" dt="2023-10-03T19:50:31.139" v="1504" actId="1076"/>
          <ac:picMkLst>
            <pc:docMk/>
            <pc:sldMk cId="1417566644" sldId="264"/>
            <ac:picMk id="7" creationId="{228AD274-C97D-5B40-E5A7-794D051CF0C3}"/>
          </ac:picMkLst>
        </pc:picChg>
      </pc:sldChg>
      <pc:sldChg chg="add del">
        <pc:chgData name="Caio Oriente Pereira" userId="cf0d9a0a-e124-4c03-aa21-7658adfbd4b5" providerId="ADAL" clId="{75441B16-FE08-4556-BAC4-BFB7AB5FC131}" dt="2023-09-28T19:46:51.231" v="40"/>
        <pc:sldMkLst>
          <pc:docMk/>
          <pc:sldMk cId="4173736114" sldId="279"/>
        </pc:sldMkLst>
      </pc:sldChg>
      <pc:sldChg chg="add del">
        <pc:chgData name="Caio Oriente Pereira" userId="cf0d9a0a-e124-4c03-aa21-7658adfbd4b5" providerId="ADAL" clId="{75441B16-FE08-4556-BAC4-BFB7AB5FC131}" dt="2023-09-28T19:45:27.644" v="36"/>
        <pc:sldMkLst>
          <pc:docMk/>
          <pc:sldMk cId="2436406378" sldId="2307"/>
        </pc:sldMkLst>
      </pc:sldChg>
      <pc:sldChg chg="delSp modSp add del mod">
        <pc:chgData name="Caio Oriente Pereira" userId="cf0d9a0a-e124-4c03-aa21-7658adfbd4b5" providerId="ADAL" clId="{75441B16-FE08-4556-BAC4-BFB7AB5FC131}" dt="2023-09-29T12:13:49.639" v="298" actId="47"/>
        <pc:sldMkLst>
          <pc:docMk/>
          <pc:sldMk cId="573903604" sldId="2398"/>
        </pc:sldMkLst>
        <pc:spChg chg="del mod">
          <ac:chgData name="Caio Oriente Pereira" userId="cf0d9a0a-e124-4c03-aa21-7658adfbd4b5" providerId="ADAL" clId="{75441B16-FE08-4556-BAC4-BFB7AB5FC131}" dt="2023-09-29T11:55:28.259" v="223" actId="478"/>
          <ac:spMkLst>
            <pc:docMk/>
            <pc:sldMk cId="573903604" sldId="2398"/>
            <ac:spMk id="2" creationId="{6EB0A898-7FAB-4C4C-8E69-F2587D074174}"/>
          </ac:spMkLst>
        </pc:spChg>
        <pc:spChg chg="mod">
          <ac:chgData name="Caio Oriente Pereira" userId="cf0d9a0a-e124-4c03-aa21-7658adfbd4b5" providerId="ADAL" clId="{75441B16-FE08-4556-BAC4-BFB7AB5FC131}" dt="2023-09-28T19:47:16.144" v="47" actId="20577"/>
          <ac:spMkLst>
            <pc:docMk/>
            <pc:sldMk cId="573903604" sldId="2398"/>
            <ac:spMk id="3" creationId="{305507F4-E351-B93B-BD52-A2DD35DA6C97}"/>
          </ac:spMkLst>
        </pc:spChg>
        <pc:spChg chg="del">
          <ac:chgData name="Caio Oriente Pereira" userId="cf0d9a0a-e124-4c03-aa21-7658adfbd4b5" providerId="ADAL" clId="{75441B16-FE08-4556-BAC4-BFB7AB5FC131}" dt="2023-09-28T19:47:22.047" v="48" actId="478"/>
          <ac:spMkLst>
            <pc:docMk/>
            <pc:sldMk cId="573903604" sldId="2398"/>
            <ac:spMk id="4" creationId="{D7198FA3-C528-58C0-DF7F-34353D03FE17}"/>
          </ac:spMkLst>
        </pc:spChg>
        <pc:spChg chg="del">
          <ac:chgData name="Caio Oriente Pereira" userId="cf0d9a0a-e124-4c03-aa21-7658adfbd4b5" providerId="ADAL" clId="{75441B16-FE08-4556-BAC4-BFB7AB5FC131}" dt="2023-09-28T19:47:22.047" v="48" actId="478"/>
          <ac:spMkLst>
            <pc:docMk/>
            <pc:sldMk cId="573903604" sldId="2398"/>
            <ac:spMk id="19" creationId="{01DBCD10-F95F-842B-EBFF-A78F0A07F042}"/>
          </ac:spMkLst>
        </pc:spChg>
        <pc:spChg chg="del">
          <ac:chgData name="Caio Oriente Pereira" userId="cf0d9a0a-e124-4c03-aa21-7658adfbd4b5" providerId="ADAL" clId="{75441B16-FE08-4556-BAC4-BFB7AB5FC131}" dt="2023-09-28T19:47:22.047" v="48" actId="478"/>
          <ac:spMkLst>
            <pc:docMk/>
            <pc:sldMk cId="573903604" sldId="2398"/>
            <ac:spMk id="20" creationId="{0160714D-C819-92E6-DEE3-F8538B155F1F}"/>
          </ac:spMkLst>
        </pc:spChg>
        <pc:spChg chg="del">
          <ac:chgData name="Caio Oriente Pereira" userId="cf0d9a0a-e124-4c03-aa21-7658adfbd4b5" providerId="ADAL" clId="{75441B16-FE08-4556-BAC4-BFB7AB5FC131}" dt="2023-09-28T19:47:22.047" v="48" actId="478"/>
          <ac:spMkLst>
            <pc:docMk/>
            <pc:sldMk cId="573903604" sldId="2398"/>
            <ac:spMk id="28" creationId="{5CF03A6E-C703-B953-1747-803AEC11F507}"/>
          </ac:spMkLst>
        </pc:spChg>
        <pc:spChg chg="del">
          <ac:chgData name="Caio Oriente Pereira" userId="cf0d9a0a-e124-4c03-aa21-7658adfbd4b5" providerId="ADAL" clId="{75441B16-FE08-4556-BAC4-BFB7AB5FC131}" dt="2023-09-28T19:47:22.047" v="48" actId="478"/>
          <ac:spMkLst>
            <pc:docMk/>
            <pc:sldMk cId="573903604" sldId="2398"/>
            <ac:spMk id="124" creationId="{45622A55-A30C-C96A-234B-A2DFF940A767}"/>
          </ac:spMkLst>
        </pc:spChg>
        <pc:spChg chg="del">
          <ac:chgData name="Caio Oriente Pereira" userId="cf0d9a0a-e124-4c03-aa21-7658adfbd4b5" providerId="ADAL" clId="{75441B16-FE08-4556-BAC4-BFB7AB5FC131}" dt="2023-09-28T19:47:22.047" v="48" actId="478"/>
          <ac:spMkLst>
            <pc:docMk/>
            <pc:sldMk cId="573903604" sldId="2398"/>
            <ac:spMk id="127" creationId="{19C9F63E-E41E-26B0-8400-EB98C2C8C4FB}"/>
          </ac:spMkLst>
        </pc:spChg>
        <pc:spChg chg="del">
          <ac:chgData name="Caio Oriente Pereira" userId="cf0d9a0a-e124-4c03-aa21-7658adfbd4b5" providerId="ADAL" clId="{75441B16-FE08-4556-BAC4-BFB7AB5FC131}" dt="2023-09-28T19:47:22.047" v="48" actId="478"/>
          <ac:spMkLst>
            <pc:docMk/>
            <pc:sldMk cId="573903604" sldId="2398"/>
            <ac:spMk id="128" creationId="{1B614BB2-7684-80D8-D0A8-44B65F67D985}"/>
          </ac:spMkLst>
        </pc:spChg>
        <pc:grpChg chg="del">
          <ac:chgData name="Caio Oriente Pereira" userId="cf0d9a0a-e124-4c03-aa21-7658adfbd4b5" providerId="ADAL" clId="{75441B16-FE08-4556-BAC4-BFB7AB5FC131}" dt="2023-09-28T19:47:22.047" v="48" actId="478"/>
          <ac:grpSpMkLst>
            <pc:docMk/>
            <pc:sldMk cId="573903604" sldId="2398"/>
            <ac:grpSpMk id="6" creationId="{6F43652C-6FAC-09FE-4157-1CD8F5E728A9}"/>
          </ac:grpSpMkLst>
        </pc:grpChg>
        <pc:grpChg chg="del">
          <ac:chgData name="Caio Oriente Pereira" userId="cf0d9a0a-e124-4c03-aa21-7658adfbd4b5" providerId="ADAL" clId="{75441B16-FE08-4556-BAC4-BFB7AB5FC131}" dt="2023-09-28T19:47:22.047" v="48" actId="478"/>
          <ac:grpSpMkLst>
            <pc:docMk/>
            <pc:sldMk cId="573903604" sldId="2398"/>
            <ac:grpSpMk id="36" creationId="{BA93BF4A-3882-F30C-BE44-1E8F7EF9F10F}"/>
          </ac:grpSpMkLst>
        </pc:grpChg>
        <pc:grpChg chg="del">
          <ac:chgData name="Caio Oriente Pereira" userId="cf0d9a0a-e124-4c03-aa21-7658adfbd4b5" providerId="ADAL" clId="{75441B16-FE08-4556-BAC4-BFB7AB5FC131}" dt="2023-09-28T19:47:22.047" v="48" actId="478"/>
          <ac:grpSpMkLst>
            <pc:docMk/>
            <pc:sldMk cId="573903604" sldId="2398"/>
            <ac:grpSpMk id="121" creationId="{C77AB01D-58B9-0AEA-FDF7-B32EBC3A5755}"/>
          </ac:grpSpMkLst>
        </pc:grpChg>
        <pc:grpChg chg="del">
          <ac:chgData name="Caio Oriente Pereira" userId="cf0d9a0a-e124-4c03-aa21-7658adfbd4b5" providerId="ADAL" clId="{75441B16-FE08-4556-BAC4-BFB7AB5FC131}" dt="2023-09-28T19:47:22.047" v="48" actId="478"/>
          <ac:grpSpMkLst>
            <pc:docMk/>
            <pc:sldMk cId="573903604" sldId="2398"/>
            <ac:grpSpMk id="130" creationId="{944A073B-E502-080C-5848-F53370C043B7}"/>
          </ac:grpSpMkLst>
        </pc:grpChg>
        <pc:picChg chg="del">
          <ac:chgData name="Caio Oriente Pereira" userId="cf0d9a0a-e124-4c03-aa21-7658adfbd4b5" providerId="ADAL" clId="{75441B16-FE08-4556-BAC4-BFB7AB5FC131}" dt="2023-09-28T19:47:22.047" v="48" actId="478"/>
          <ac:picMkLst>
            <pc:docMk/>
            <pc:sldMk cId="573903604" sldId="2398"/>
            <ac:picMk id="29" creationId="{EA7353BC-156C-7996-6917-93FB289B36C5}"/>
          </ac:picMkLst>
        </pc:picChg>
        <pc:picChg chg="del">
          <ac:chgData name="Caio Oriente Pereira" userId="cf0d9a0a-e124-4c03-aa21-7658adfbd4b5" providerId="ADAL" clId="{75441B16-FE08-4556-BAC4-BFB7AB5FC131}" dt="2023-09-28T19:47:22.047" v="48" actId="478"/>
          <ac:picMkLst>
            <pc:docMk/>
            <pc:sldMk cId="573903604" sldId="2398"/>
            <ac:picMk id="125" creationId="{8FB03FB9-87EE-4A19-C203-5DE80B09DC97}"/>
          </ac:picMkLst>
        </pc:picChg>
        <pc:cxnChg chg="del mod">
          <ac:chgData name="Caio Oriente Pereira" userId="cf0d9a0a-e124-4c03-aa21-7658adfbd4b5" providerId="ADAL" clId="{75441B16-FE08-4556-BAC4-BFB7AB5FC131}" dt="2023-09-28T19:47:22.047" v="48" actId="478"/>
          <ac:cxnSpMkLst>
            <pc:docMk/>
            <pc:sldMk cId="573903604" sldId="2398"/>
            <ac:cxnSpMk id="57" creationId="{0CA4169A-6EA1-6AE2-F5D0-891C376B5819}"/>
          </ac:cxnSpMkLst>
        </pc:cxnChg>
        <pc:cxnChg chg="del mod">
          <ac:chgData name="Caio Oriente Pereira" userId="cf0d9a0a-e124-4c03-aa21-7658adfbd4b5" providerId="ADAL" clId="{75441B16-FE08-4556-BAC4-BFB7AB5FC131}" dt="2023-09-28T19:47:22.047" v="48" actId="478"/>
          <ac:cxnSpMkLst>
            <pc:docMk/>
            <pc:sldMk cId="573903604" sldId="2398"/>
            <ac:cxnSpMk id="70" creationId="{816E8BA4-0E6B-D9D0-95F7-8D04614602AC}"/>
          </ac:cxnSpMkLst>
        </pc:cxnChg>
        <pc:cxnChg chg="del mod">
          <ac:chgData name="Caio Oriente Pereira" userId="cf0d9a0a-e124-4c03-aa21-7658adfbd4b5" providerId="ADAL" clId="{75441B16-FE08-4556-BAC4-BFB7AB5FC131}" dt="2023-09-28T19:47:22.047" v="48" actId="478"/>
          <ac:cxnSpMkLst>
            <pc:docMk/>
            <pc:sldMk cId="573903604" sldId="2398"/>
            <ac:cxnSpMk id="73" creationId="{D71AE13A-1B82-7B0E-6B05-0554ABAF38B0}"/>
          </ac:cxnSpMkLst>
        </pc:cxnChg>
        <pc:cxnChg chg="del mod">
          <ac:chgData name="Caio Oriente Pereira" userId="cf0d9a0a-e124-4c03-aa21-7658adfbd4b5" providerId="ADAL" clId="{75441B16-FE08-4556-BAC4-BFB7AB5FC131}" dt="2023-09-28T19:47:22.047" v="48" actId="478"/>
          <ac:cxnSpMkLst>
            <pc:docMk/>
            <pc:sldMk cId="573903604" sldId="2398"/>
            <ac:cxnSpMk id="75" creationId="{A89B6EF3-0B3E-7F00-1EE0-DCDECF09580B}"/>
          </ac:cxnSpMkLst>
        </pc:cxnChg>
        <pc:cxnChg chg="del mod">
          <ac:chgData name="Caio Oriente Pereira" userId="cf0d9a0a-e124-4c03-aa21-7658adfbd4b5" providerId="ADAL" clId="{75441B16-FE08-4556-BAC4-BFB7AB5FC131}" dt="2023-09-28T19:47:22.047" v="48" actId="478"/>
          <ac:cxnSpMkLst>
            <pc:docMk/>
            <pc:sldMk cId="573903604" sldId="2398"/>
            <ac:cxnSpMk id="77" creationId="{5288ECD7-6ED1-D11A-D8FE-5AB8F2550D9C}"/>
          </ac:cxnSpMkLst>
        </pc:cxnChg>
      </pc:sldChg>
      <pc:sldChg chg="addSp delSp modSp add del mod modTransition modShow addCm delCm modCm modNotesTx">
        <pc:chgData name="Caio Oriente Pereira" userId="cf0d9a0a-e124-4c03-aa21-7658adfbd4b5" providerId="ADAL" clId="{75441B16-FE08-4556-BAC4-BFB7AB5FC131}" dt="2023-10-04T15:23:54.401" v="2953" actId="47"/>
        <pc:sldMkLst>
          <pc:docMk/>
          <pc:sldMk cId="3353524207" sldId="2399"/>
        </pc:sldMkLst>
        <pc:spChg chg="del">
          <ac:chgData name="Caio Oriente Pereira" userId="cf0d9a0a-e124-4c03-aa21-7658adfbd4b5" providerId="ADAL" clId="{75441B16-FE08-4556-BAC4-BFB7AB5FC131}" dt="2023-09-29T11:55:30.807" v="224" actId="478"/>
          <ac:spMkLst>
            <pc:docMk/>
            <pc:sldMk cId="3353524207" sldId="2399"/>
            <ac:spMk id="2" creationId="{6EB0A898-7FAB-4C4C-8E69-F2587D074174}"/>
          </ac:spMkLst>
        </pc:spChg>
        <pc:spChg chg="mod">
          <ac:chgData name="Caio Oriente Pereira" userId="cf0d9a0a-e124-4c03-aa21-7658adfbd4b5" providerId="ADAL" clId="{75441B16-FE08-4556-BAC4-BFB7AB5FC131}" dt="2023-09-29T12:45:22.920" v="839" actId="20577"/>
          <ac:spMkLst>
            <pc:docMk/>
            <pc:sldMk cId="3353524207" sldId="2399"/>
            <ac:spMk id="3" creationId="{305507F4-E351-B93B-BD52-A2DD35DA6C97}"/>
          </ac:spMkLst>
        </pc:spChg>
        <pc:spChg chg="add del mod">
          <ac:chgData name="Caio Oriente Pereira" userId="cf0d9a0a-e124-4c03-aa21-7658adfbd4b5" providerId="ADAL" clId="{75441B16-FE08-4556-BAC4-BFB7AB5FC131}" dt="2023-09-29T12:18:33.035" v="457" actId="478"/>
          <ac:spMkLst>
            <pc:docMk/>
            <pc:sldMk cId="3353524207" sldId="2399"/>
            <ac:spMk id="5" creationId="{1ADDB258-D529-A853-F570-DC5A6345E39D}"/>
          </ac:spMkLst>
        </pc:spChg>
        <pc:spChg chg="add del mod">
          <ac:chgData name="Caio Oriente Pereira" userId="cf0d9a0a-e124-4c03-aa21-7658adfbd4b5" providerId="ADAL" clId="{75441B16-FE08-4556-BAC4-BFB7AB5FC131}" dt="2023-09-29T12:18:33.035" v="457" actId="478"/>
          <ac:spMkLst>
            <pc:docMk/>
            <pc:sldMk cId="3353524207" sldId="2399"/>
            <ac:spMk id="6" creationId="{9A9B7F35-4120-B8A1-9CED-DC9D5BE43BF0}"/>
          </ac:spMkLst>
        </pc:spChg>
        <pc:spChg chg="add mod">
          <ac:chgData name="Caio Oriente Pereira" userId="cf0d9a0a-e124-4c03-aa21-7658adfbd4b5" providerId="ADAL" clId="{75441B16-FE08-4556-BAC4-BFB7AB5FC131}" dt="2023-09-29T12:46:04.747" v="851" actId="1076"/>
          <ac:spMkLst>
            <pc:docMk/>
            <pc:sldMk cId="3353524207" sldId="2399"/>
            <ac:spMk id="8" creationId="{E9185997-3D0E-FFC0-A20F-748FB8D96C34}"/>
          </ac:spMkLst>
        </pc:spChg>
        <pc:spChg chg="add mod">
          <ac:chgData name="Caio Oriente Pereira" userId="cf0d9a0a-e124-4c03-aa21-7658adfbd4b5" providerId="ADAL" clId="{75441B16-FE08-4556-BAC4-BFB7AB5FC131}" dt="2023-09-29T12:45:52.034" v="849" actId="1036"/>
          <ac:spMkLst>
            <pc:docMk/>
            <pc:sldMk cId="3353524207" sldId="2399"/>
            <ac:spMk id="10" creationId="{72E24956-A64E-E450-6422-2D7CD7B5A0A2}"/>
          </ac:spMkLst>
        </pc:spChg>
        <pc:spChg chg="mod">
          <ac:chgData name="Caio Oriente Pereira" userId="cf0d9a0a-e124-4c03-aa21-7658adfbd4b5" providerId="ADAL" clId="{75441B16-FE08-4556-BAC4-BFB7AB5FC131}" dt="2023-09-29T12:45:52.034" v="849" actId="1036"/>
          <ac:spMkLst>
            <pc:docMk/>
            <pc:sldMk cId="3353524207" sldId="2399"/>
            <ac:spMk id="12" creationId="{96E2B49E-131B-5909-53B4-582B6E6E6867}"/>
          </ac:spMkLst>
        </pc:spChg>
        <pc:spChg chg="mod">
          <ac:chgData name="Caio Oriente Pereira" userId="cf0d9a0a-e124-4c03-aa21-7658adfbd4b5" providerId="ADAL" clId="{75441B16-FE08-4556-BAC4-BFB7AB5FC131}" dt="2023-09-29T12:45:52.034" v="849" actId="1036"/>
          <ac:spMkLst>
            <pc:docMk/>
            <pc:sldMk cId="3353524207" sldId="2399"/>
            <ac:spMk id="13" creationId="{B74B6457-2917-64AA-C004-F5EA5FA902A7}"/>
          </ac:spMkLst>
        </pc:spChg>
        <pc:spChg chg="add mod">
          <ac:chgData name="Caio Oriente Pereira" userId="cf0d9a0a-e124-4c03-aa21-7658adfbd4b5" providerId="ADAL" clId="{75441B16-FE08-4556-BAC4-BFB7AB5FC131}" dt="2023-09-29T12:45:52.034" v="849" actId="1036"/>
          <ac:spMkLst>
            <pc:docMk/>
            <pc:sldMk cId="3353524207" sldId="2399"/>
            <ac:spMk id="15" creationId="{247C7486-2EB5-F01C-1CDD-E744C1382153}"/>
          </ac:spMkLst>
        </pc:spChg>
        <pc:spChg chg="mod">
          <ac:chgData name="Caio Oriente Pereira" userId="cf0d9a0a-e124-4c03-aa21-7658adfbd4b5" providerId="ADAL" clId="{75441B16-FE08-4556-BAC4-BFB7AB5FC131}" dt="2023-09-29T12:45:52.034" v="849" actId="1036"/>
          <ac:spMkLst>
            <pc:docMk/>
            <pc:sldMk cId="3353524207" sldId="2399"/>
            <ac:spMk id="21" creationId="{D0770FF3-80AD-EFDC-8347-91A4A7637922}"/>
          </ac:spMkLst>
        </pc:spChg>
        <pc:spChg chg="mod">
          <ac:chgData name="Caio Oriente Pereira" userId="cf0d9a0a-e124-4c03-aa21-7658adfbd4b5" providerId="ADAL" clId="{75441B16-FE08-4556-BAC4-BFB7AB5FC131}" dt="2023-09-29T12:46:42.111" v="857" actId="1076"/>
          <ac:spMkLst>
            <pc:docMk/>
            <pc:sldMk cId="3353524207" sldId="2399"/>
            <ac:spMk id="25" creationId="{C804E22D-F72E-37E9-60FE-FD3B3701DCEE}"/>
          </ac:spMkLst>
        </pc:spChg>
        <pc:spChg chg="add mod">
          <ac:chgData name="Caio Oriente Pereira" userId="cf0d9a0a-e124-4c03-aa21-7658adfbd4b5" providerId="ADAL" clId="{75441B16-FE08-4556-BAC4-BFB7AB5FC131}" dt="2023-09-29T12:45:52.034" v="849" actId="1036"/>
          <ac:spMkLst>
            <pc:docMk/>
            <pc:sldMk cId="3353524207" sldId="2399"/>
            <ac:spMk id="26" creationId="{FCF424D3-43DF-BDEB-E42C-C87F31B4549A}"/>
          </ac:spMkLst>
        </pc:spChg>
        <pc:spChg chg="mod">
          <ac:chgData name="Caio Oriente Pereira" userId="cf0d9a0a-e124-4c03-aa21-7658adfbd4b5" providerId="ADAL" clId="{75441B16-FE08-4556-BAC4-BFB7AB5FC131}" dt="2023-09-29T12:45:52.034" v="849" actId="1036"/>
          <ac:spMkLst>
            <pc:docMk/>
            <pc:sldMk cId="3353524207" sldId="2399"/>
            <ac:spMk id="28" creationId="{B61E758D-61BF-562E-2ABC-E55BD0BE8E83}"/>
          </ac:spMkLst>
        </pc:spChg>
        <pc:spChg chg="mod">
          <ac:chgData name="Caio Oriente Pereira" userId="cf0d9a0a-e124-4c03-aa21-7658adfbd4b5" providerId="ADAL" clId="{75441B16-FE08-4556-BAC4-BFB7AB5FC131}" dt="2023-09-29T12:45:52.034" v="849" actId="1036"/>
          <ac:spMkLst>
            <pc:docMk/>
            <pc:sldMk cId="3353524207" sldId="2399"/>
            <ac:spMk id="29" creationId="{0C33E603-046E-396D-7734-597B1563D0B2}"/>
          </ac:spMkLst>
        </pc:spChg>
        <pc:spChg chg="add mod">
          <ac:chgData name="Caio Oriente Pereira" userId="cf0d9a0a-e124-4c03-aa21-7658adfbd4b5" providerId="ADAL" clId="{75441B16-FE08-4556-BAC4-BFB7AB5FC131}" dt="2023-09-29T12:45:52.034" v="849" actId="1036"/>
          <ac:spMkLst>
            <pc:docMk/>
            <pc:sldMk cId="3353524207" sldId="2399"/>
            <ac:spMk id="31" creationId="{016FE7A1-0160-682E-AF52-145EC08FB93C}"/>
          </ac:spMkLst>
        </pc:spChg>
        <pc:spChg chg="add mod">
          <ac:chgData name="Caio Oriente Pereira" userId="cf0d9a0a-e124-4c03-aa21-7658adfbd4b5" providerId="ADAL" clId="{75441B16-FE08-4556-BAC4-BFB7AB5FC131}" dt="2023-09-29T12:45:52.034" v="849" actId="1036"/>
          <ac:spMkLst>
            <pc:docMk/>
            <pc:sldMk cId="3353524207" sldId="2399"/>
            <ac:spMk id="32" creationId="{F54493DD-AF47-C13C-26C8-EE52F40EA903}"/>
          </ac:spMkLst>
        </pc:spChg>
        <pc:spChg chg="add del mod">
          <ac:chgData name="Caio Oriente Pereira" userId="cf0d9a0a-e124-4c03-aa21-7658adfbd4b5" providerId="ADAL" clId="{75441B16-FE08-4556-BAC4-BFB7AB5FC131}" dt="2023-10-04T14:49:58.681" v="2898" actId="478"/>
          <ac:spMkLst>
            <pc:docMk/>
            <pc:sldMk cId="3353524207" sldId="2399"/>
            <ac:spMk id="33" creationId="{81B85B92-AA82-082D-18CB-1FE897DCF7B8}"/>
          </ac:spMkLst>
        </pc:spChg>
        <pc:spChg chg="add mod">
          <ac:chgData name="Caio Oriente Pereira" userId="cf0d9a0a-e124-4c03-aa21-7658adfbd4b5" providerId="ADAL" clId="{75441B16-FE08-4556-BAC4-BFB7AB5FC131}" dt="2023-09-29T12:45:52.034" v="849" actId="1036"/>
          <ac:spMkLst>
            <pc:docMk/>
            <pc:sldMk cId="3353524207" sldId="2399"/>
            <ac:spMk id="44" creationId="{3296D2DD-6696-090F-5CC4-532F5DF086B0}"/>
          </ac:spMkLst>
        </pc:spChg>
        <pc:spChg chg="add mod">
          <ac:chgData name="Caio Oriente Pereira" userId="cf0d9a0a-e124-4c03-aa21-7658adfbd4b5" providerId="ADAL" clId="{75441B16-FE08-4556-BAC4-BFB7AB5FC131}" dt="2023-09-29T12:45:52.034" v="849" actId="1036"/>
          <ac:spMkLst>
            <pc:docMk/>
            <pc:sldMk cId="3353524207" sldId="2399"/>
            <ac:spMk id="45" creationId="{FFCE4BC4-0541-714C-765F-DFAE64E2E7C2}"/>
          </ac:spMkLst>
        </pc:spChg>
        <pc:spChg chg="add mod">
          <ac:chgData name="Caio Oriente Pereira" userId="cf0d9a0a-e124-4c03-aa21-7658adfbd4b5" providerId="ADAL" clId="{75441B16-FE08-4556-BAC4-BFB7AB5FC131}" dt="2023-09-29T12:45:52.034" v="849" actId="1036"/>
          <ac:spMkLst>
            <pc:docMk/>
            <pc:sldMk cId="3353524207" sldId="2399"/>
            <ac:spMk id="46" creationId="{6563FE17-B994-B0B0-FEF3-DAF7E75EEE26}"/>
          </ac:spMkLst>
        </pc:spChg>
        <pc:grpChg chg="add mod">
          <ac:chgData name="Caio Oriente Pereira" userId="cf0d9a0a-e124-4c03-aa21-7658adfbd4b5" providerId="ADAL" clId="{75441B16-FE08-4556-BAC4-BFB7AB5FC131}" dt="2023-09-29T12:45:52.034" v="849" actId="1036"/>
          <ac:grpSpMkLst>
            <pc:docMk/>
            <pc:sldMk cId="3353524207" sldId="2399"/>
            <ac:grpSpMk id="11" creationId="{9CEC6AD6-EB8A-1A5A-FE16-BFC61A55EAB4}"/>
          </ac:grpSpMkLst>
        </pc:grpChg>
        <pc:grpChg chg="add mod">
          <ac:chgData name="Caio Oriente Pereira" userId="cf0d9a0a-e124-4c03-aa21-7658adfbd4b5" providerId="ADAL" clId="{75441B16-FE08-4556-BAC4-BFB7AB5FC131}" dt="2023-09-29T12:46:46.369" v="858" actId="465"/>
          <ac:grpSpMkLst>
            <pc:docMk/>
            <pc:sldMk cId="3353524207" sldId="2399"/>
            <ac:grpSpMk id="19" creationId="{13901720-FD4D-ED8A-B8EB-FA3BCD6650D1}"/>
          </ac:grpSpMkLst>
        </pc:grpChg>
        <pc:grpChg chg="add mod">
          <ac:chgData name="Caio Oriente Pereira" userId="cf0d9a0a-e124-4c03-aa21-7658adfbd4b5" providerId="ADAL" clId="{75441B16-FE08-4556-BAC4-BFB7AB5FC131}" dt="2023-09-29T12:46:46.369" v="858" actId="465"/>
          <ac:grpSpMkLst>
            <pc:docMk/>
            <pc:sldMk cId="3353524207" sldId="2399"/>
            <ac:grpSpMk id="23" creationId="{96AFB93F-AF92-FDA2-4F95-7F09727180B2}"/>
          </ac:grpSpMkLst>
        </pc:grpChg>
        <pc:grpChg chg="add mod">
          <ac:chgData name="Caio Oriente Pereira" userId="cf0d9a0a-e124-4c03-aa21-7658adfbd4b5" providerId="ADAL" clId="{75441B16-FE08-4556-BAC4-BFB7AB5FC131}" dt="2023-09-29T12:45:52.034" v="849" actId="1036"/>
          <ac:grpSpMkLst>
            <pc:docMk/>
            <pc:sldMk cId="3353524207" sldId="2399"/>
            <ac:grpSpMk id="27" creationId="{38A93232-B48C-B411-8846-FCF0CF51E5FF}"/>
          </ac:grpSpMkLst>
        </pc:grpChg>
        <pc:picChg chg="add del mod">
          <ac:chgData name="Caio Oriente Pereira" userId="cf0d9a0a-e124-4c03-aa21-7658adfbd4b5" providerId="ADAL" clId="{75441B16-FE08-4556-BAC4-BFB7AB5FC131}" dt="2023-09-29T12:18:33.035" v="457" actId="478"/>
          <ac:picMkLst>
            <pc:docMk/>
            <pc:sldMk cId="3353524207" sldId="2399"/>
            <ac:picMk id="4" creationId="{135C28E9-76DC-7FBC-333A-8587BEAD17A5}"/>
          </ac:picMkLst>
        </pc:picChg>
        <pc:picChg chg="add mod">
          <ac:chgData name="Caio Oriente Pereira" userId="cf0d9a0a-e124-4c03-aa21-7658adfbd4b5" providerId="ADAL" clId="{75441B16-FE08-4556-BAC4-BFB7AB5FC131}" dt="2023-09-29T12:45:52.034" v="849" actId="1036"/>
          <ac:picMkLst>
            <pc:docMk/>
            <pc:sldMk cId="3353524207" sldId="2399"/>
            <ac:picMk id="9" creationId="{A45ADD41-FF06-39A7-95E6-16A6FBDE04F5}"/>
          </ac:picMkLst>
        </pc:picChg>
        <pc:picChg chg="add mod">
          <ac:chgData name="Caio Oriente Pereira" userId="cf0d9a0a-e124-4c03-aa21-7658adfbd4b5" providerId="ADAL" clId="{75441B16-FE08-4556-BAC4-BFB7AB5FC131}" dt="2023-09-29T12:46:46.369" v="858" actId="465"/>
          <ac:picMkLst>
            <pc:docMk/>
            <pc:sldMk cId="3353524207" sldId="2399"/>
            <ac:picMk id="18" creationId="{12537E0B-3C14-8C4D-D336-61D72BEB712A}"/>
          </ac:picMkLst>
        </pc:picChg>
        <pc:picChg chg="mod">
          <ac:chgData name="Caio Oriente Pereira" userId="cf0d9a0a-e124-4c03-aa21-7658adfbd4b5" providerId="ADAL" clId="{75441B16-FE08-4556-BAC4-BFB7AB5FC131}" dt="2023-09-29T12:45:52.034" v="849" actId="1036"/>
          <ac:picMkLst>
            <pc:docMk/>
            <pc:sldMk cId="3353524207" sldId="2399"/>
            <ac:picMk id="20" creationId="{82F61143-1389-1933-4450-4ECB875A828D}"/>
          </ac:picMkLst>
        </pc:picChg>
        <pc:picChg chg="add mod">
          <ac:chgData name="Caio Oriente Pereira" userId="cf0d9a0a-e124-4c03-aa21-7658adfbd4b5" providerId="ADAL" clId="{75441B16-FE08-4556-BAC4-BFB7AB5FC131}" dt="2023-09-29T12:46:46.369" v="858" actId="465"/>
          <ac:picMkLst>
            <pc:docMk/>
            <pc:sldMk cId="3353524207" sldId="2399"/>
            <ac:picMk id="22" creationId="{35506A44-BF30-A62A-1ABC-71B3744B6262}"/>
          </ac:picMkLst>
        </pc:picChg>
        <pc:picChg chg="mod">
          <ac:chgData name="Caio Oriente Pereira" userId="cf0d9a0a-e124-4c03-aa21-7658adfbd4b5" providerId="ADAL" clId="{75441B16-FE08-4556-BAC4-BFB7AB5FC131}" dt="2023-09-29T12:46:42.111" v="857" actId="1076"/>
          <ac:picMkLst>
            <pc:docMk/>
            <pc:sldMk cId="3353524207" sldId="2399"/>
            <ac:picMk id="24" creationId="{A608F2F5-85A8-AF79-05FD-4C518DD68AB7}"/>
          </ac:picMkLst>
        </pc:picChg>
        <pc:picChg chg="add mod">
          <ac:chgData name="Caio Oriente Pereira" userId="cf0d9a0a-e124-4c03-aa21-7658adfbd4b5" providerId="ADAL" clId="{75441B16-FE08-4556-BAC4-BFB7AB5FC131}" dt="2023-09-29T12:47:07.322" v="864" actId="1038"/>
          <ac:picMkLst>
            <pc:docMk/>
            <pc:sldMk cId="3353524207" sldId="2399"/>
            <ac:picMk id="30" creationId="{04E62275-AFCA-CBD2-A2F8-FDBD80776CE8}"/>
          </ac:picMkLst>
        </pc:picChg>
        <pc:picChg chg="add mod">
          <ac:chgData name="Caio Oriente Pereira" userId="cf0d9a0a-e124-4c03-aa21-7658adfbd4b5" providerId="ADAL" clId="{75441B16-FE08-4556-BAC4-BFB7AB5FC131}" dt="2023-09-29T12:45:52.034" v="849" actId="1036"/>
          <ac:picMkLst>
            <pc:docMk/>
            <pc:sldMk cId="3353524207" sldId="2399"/>
            <ac:picMk id="34" creationId="{D64076BB-4C4E-BBC5-3D6A-B9076C1A2834}"/>
          </ac:picMkLst>
        </pc:picChg>
        <pc:picChg chg="add mod">
          <ac:chgData name="Caio Oriente Pereira" userId="cf0d9a0a-e124-4c03-aa21-7658adfbd4b5" providerId="ADAL" clId="{75441B16-FE08-4556-BAC4-BFB7AB5FC131}" dt="2023-09-29T12:45:52.034" v="849" actId="1036"/>
          <ac:picMkLst>
            <pc:docMk/>
            <pc:sldMk cId="3353524207" sldId="2399"/>
            <ac:picMk id="35" creationId="{07D8664D-B716-4804-3639-5EE19481831B}"/>
          </ac:picMkLst>
        </pc:picChg>
        <pc:picChg chg="add mod">
          <ac:chgData name="Caio Oriente Pereira" userId="cf0d9a0a-e124-4c03-aa21-7658adfbd4b5" providerId="ADAL" clId="{75441B16-FE08-4556-BAC4-BFB7AB5FC131}" dt="2023-09-29T12:45:52.034" v="849" actId="1036"/>
          <ac:picMkLst>
            <pc:docMk/>
            <pc:sldMk cId="3353524207" sldId="2399"/>
            <ac:picMk id="36" creationId="{81DB320C-6CED-7990-045B-D29C94084DD6}"/>
          </ac:picMkLst>
        </pc:picChg>
        <pc:picChg chg="add mod">
          <ac:chgData name="Caio Oriente Pereira" userId="cf0d9a0a-e124-4c03-aa21-7658adfbd4b5" providerId="ADAL" clId="{75441B16-FE08-4556-BAC4-BFB7AB5FC131}" dt="2023-09-29T12:45:52.034" v="849" actId="1036"/>
          <ac:picMkLst>
            <pc:docMk/>
            <pc:sldMk cId="3353524207" sldId="2399"/>
            <ac:picMk id="37" creationId="{479366A6-22C8-D43C-91F6-D18C9CC1A367}"/>
          </ac:picMkLst>
        </pc:picChg>
        <pc:picChg chg="add mod">
          <ac:chgData name="Caio Oriente Pereira" userId="cf0d9a0a-e124-4c03-aa21-7658adfbd4b5" providerId="ADAL" clId="{75441B16-FE08-4556-BAC4-BFB7AB5FC131}" dt="2023-09-29T12:45:52.034" v="849" actId="1036"/>
          <ac:picMkLst>
            <pc:docMk/>
            <pc:sldMk cId="3353524207" sldId="2399"/>
            <ac:picMk id="38" creationId="{2DB2444E-DCE0-F791-002B-10DBB447426C}"/>
          </ac:picMkLst>
        </pc:picChg>
        <pc:picChg chg="add mod">
          <ac:chgData name="Caio Oriente Pereira" userId="cf0d9a0a-e124-4c03-aa21-7658adfbd4b5" providerId="ADAL" clId="{75441B16-FE08-4556-BAC4-BFB7AB5FC131}" dt="2023-09-29T12:45:52.034" v="849" actId="1036"/>
          <ac:picMkLst>
            <pc:docMk/>
            <pc:sldMk cId="3353524207" sldId="2399"/>
            <ac:picMk id="39" creationId="{E8E1C7CD-5BF0-74FB-EC94-EABAF379591C}"/>
          </ac:picMkLst>
        </pc:picChg>
        <pc:picChg chg="add mod">
          <ac:chgData name="Caio Oriente Pereira" userId="cf0d9a0a-e124-4c03-aa21-7658adfbd4b5" providerId="ADAL" clId="{75441B16-FE08-4556-BAC4-BFB7AB5FC131}" dt="2023-09-29T12:45:52.034" v="849" actId="1036"/>
          <ac:picMkLst>
            <pc:docMk/>
            <pc:sldMk cId="3353524207" sldId="2399"/>
            <ac:picMk id="40" creationId="{06B1CAE3-1F1C-6E6C-24A1-EB95476A05F1}"/>
          </ac:picMkLst>
        </pc:picChg>
        <pc:picChg chg="add mod">
          <ac:chgData name="Caio Oriente Pereira" userId="cf0d9a0a-e124-4c03-aa21-7658adfbd4b5" providerId="ADAL" clId="{75441B16-FE08-4556-BAC4-BFB7AB5FC131}" dt="2023-09-29T12:45:52.034" v="849" actId="1036"/>
          <ac:picMkLst>
            <pc:docMk/>
            <pc:sldMk cId="3353524207" sldId="2399"/>
            <ac:picMk id="41" creationId="{E4543511-3517-5E71-BC7F-A6AD3336267B}"/>
          </ac:picMkLst>
        </pc:picChg>
        <pc:picChg chg="add mod">
          <ac:chgData name="Caio Oriente Pereira" userId="cf0d9a0a-e124-4c03-aa21-7658adfbd4b5" providerId="ADAL" clId="{75441B16-FE08-4556-BAC4-BFB7AB5FC131}" dt="2023-09-29T12:45:52.034" v="849" actId="1036"/>
          <ac:picMkLst>
            <pc:docMk/>
            <pc:sldMk cId="3353524207" sldId="2399"/>
            <ac:picMk id="42" creationId="{3063AD8E-CF36-5D22-E008-BCF1FD931FF2}"/>
          </ac:picMkLst>
        </pc:picChg>
        <pc:picChg chg="add del mod">
          <ac:chgData name="Caio Oriente Pereira" userId="cf0d9a0a-e124-4c03-aa21-7658adfbd4b5" providerId="ADAL" clId="{75441B16-FE08-4556-BAC4-BFB7AB5FC131}" dt="2023-09-29T12:45:52.034" v="849" actId="1036"/>
          <ac:picMkLst>
            <pc:docMk/>
            <pc:sldMk cId="3353524207" sldId="2399"/>
            <ac:picMk id="47" creationId="{3ED34BB4-B16B-521D-CCA8-7F864A4D92EB}"/>
          </ac:picMkLst>
        </pc:picChg>
        <pc:picChg chg="add mod">
          <ac:chgData name="Caio Oriente Pereira" userId="cf0d9a0a-e124-4c03-aa21-7658adfbd4b5" providerId="ADAL" clId="{75441B16-FE08-4556-BAC4-BFB7AB5FC131}" dt="2023-09-29T12:45:52.034" v="849" actId="1036"/>
          <ac:picMkLst>
            <pc:docMk/>
            <pc:sldMk cId="3353524207" sldId="2399"/>
            <ac:picMk id="48" creationId="{9F49ED38-7DD2-80ED-5B27-A04A0E50B327}"/>
          </ac:picMkLst>
        </pc:picChg>
        <pc:cxnChg chg="add mod">
          <ac:chgData name="Caio Oriente Pereira" userId="cf0d9a0a-e124-4c03-aa21-7658adfbd4b5" providerId="ADAL" clId="{75441B16-FE08-4556-BAC4-BFB7AB5FC131}" dt="2023-09-29T12:45:52.034" v="849" actId="1036"/>
          <ac:cxnSpMkLst>
            <pc:docMk/>
            <pc:sldMk cId="3353524207" sldId="2399"/>
            <ac:cxnSpMk id="7" creationId="{1658E6E8-FBF7-909F-1476-8445B9C86B63}"/>
          </ac:cxnSpMkLst>
        </pc:cxnChg>
        <pc:cxnChg chg="add mod">
          <ac:chgData name="Caio Oriente Pereira" userId="cf0d9a0a-e124-4c03-aa21-7658adfbd4b5" providerId="ADAL" clId="{75441B16-FE08-4556-BAC4-BFB7AB5FC131}" dt="2023-09-29T12:45:52.034" v="849" actId="1036"/>
          <ac:cxnSpMkLst>
            <pc:docMk/>
            <pc:sldMk cId="3353524207" sldId="2399"/>
            <ac:cxnSpMk id="16" creationId="{9C165263-37F4-3F4B-7B32-67F818603C87}"/>
          </ac:cxnSpMkLst>
        </pc:cxnChg>
        <pc:cxnChg chg="add mod">
          <ac:chgData name="Caio Oriente Pereira" userId="cf0d9a0a-e124-4c03-aa21-7658adfbd4b5" providerId="ADAL" clId="{75441B16-FE08-4556-BAC4-BFB7AB5FC131}" dt="2023-09-29T12:45:52.034" v="849" actId="1036"/>
          <ac:cxnSpMkLst>
            <pc:docMk/>
            <pc:sldMk cId="3353524207" sldId="2399"/>
            <ac:cxnSpMk id="17" creationId="{25BF333A-7183-C09A-A162-C0D359580EEB}"/>
          </ac:cxnSpMkLst>
        </pc:cxnChg>
        <pc:cxnChg chg="add mod">
          <ac:chgData name="Caio Oriente Pereira" userId="cf0d9a0a-e124-4c03-aa21-7658adfbd4b5" providerId="ADAL" clId="{75441B16-FE08-4556-BAC4-BFB7AB5FC131}" dt="2023-09-29T12:45:52.034" v="849" actId="1036"/>
          <ac:cxnSpMkLst>
            <pc:docMk/>
            <pc:sldMk cId="3353524207" sldId="2399"/>
            <ac:cxnSpMk id="43" creationId="{58CED05B-FB51-9F4E-7156-DDF88D4468E7}"/>
          </ac:cxnSpMkLst>
        </pc:cxnChg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Caio Oriente Pereira" userId="cf0d9a0a-e124-4c03-aa21-7658adfbd4b5" providerId="ADAL" clId="{75441B16-FE08-4556-BAC4-BFB7AB5FC131}" dt="2023-09-29T12:29:59.612" v="487"/>
              <pc2:cmMkLst xmlns:pc2="http://schemas.microsoft.com/office/powerpoint/2019/9/main/command">
                <pc:docMk/>
                <pc:sldMk cId="3353524207" sldId="2399"/>
                <pc2:cmMk id="{655F0312-1C51-4C38-9530-37A4160FB605}"/>
              </pc2:cmMkLst>
            </pc226:cmChg>
          </p:ext>
        </pc:extLst>
      </pc:sldChg>
      <pc:sldChg chg="addSp delSp modSp add mod modNotesTx">
        <pc:chgData name="Caio Oriente Pereira" userId="cf0d9a0a-e124-4c03-aa21-7658adfbd4b5" providerId="ADAL" clId="{75441B16-FE08-4556-BAC4-BFB7AB5FC131}" dt="2023-10-03T19:46:32.396" v="1447" actId="6549"/>
        <pc:sldMkLst>
          <pc:docMk/>
          <pc:sldMk cId="90366110" sldId="2400"/>
        </pc:sldMkLst>
        <pc:spChg chg="del">
          <ac:chgData name="Caio Oriente Pereira" userId="cf0d9a0a-e124-4c03-aa21-7658adfbd4b5" providerId="ADAL" clId="{75441B16-FE08-4556-BAC4-BFB7AB5FC131}" dt="2023-09-29T11:55:33.481" v="225" actId="478"/>
          <ac:spMkLst>
            <pc:docMk/>
            <pc:sldMk cId="90366110" sldId="2400"/>
            <ac:spMk id="2" creationId="{6EB0A898-7FAB-4C4C-8E69-F2587D074174}"/>
          </ac:spMkLst>
        </pc:spChg>
        <pc:spChg chg="mod">
          <ac:chgData name="Caio Oriente Pereira" userId="cf0d9a0a-e124-4c03-aa21-7658adfbd4b5" providerId="ADAL" clId="{75441B16-FE08-4556-BAC4-BFB7AB5FC131}" dt="2023-09-29T12:50:39.635" v="952" actId="6549"/>
          <ac:spMkLst>
            <pc:docMk/>
            <pc:sldMk cId="90366110" sldId="2400"/>
            <ac:spMk id="3" creationId="{305507F4-E351-B93B-BD52-A2DD35DA6C97}"/>
          </ac:spMkLst>
        </pc:spChg>
        <pc:spChg chg="add mod">
          <ac:chgData name="Caio Oriente Pereira" userId="cf0d9a0a-e124-4c03-aa21-7658adfbd4b5" providerId="ADAL" clId="{75441B16-FE08-4556-BAC4-BFB7AB5FC131}" dt="2023-09-29T12:36:58.889" v="647" actId="164"/>
          <ac:spMkLst>
            <pc:docMk/>
            <pc:sldMk cId="90366110" sldId="2400"/>
            <ac:spMk id="4" creationId="{27B7B918-4FF5-9A3A-9EDF-959E580CE142}"/>
          </ac:spMkLst>
        </pc:spChg>
        <pc:spChg chg="add mod">
          <ac:chgData name="Caio Oriente Pereira" userId="cf0d9a0a-e124-4c03-aa21-7658adfbd4b5" providerId="ADAL" clId="{75441B16-FE08-4556-BAC4-BFB7AB5FC131}" dt="2023-09-29T12:36:47.821" v="645" actId="164"/>
          <ac:spMkLst>
            <pc:docMk/>
            <pc:sldMk cId="90366110" sldId="2400"/>
            <ac:spMk id="5" creationId="{6C3D8363-8A67-B919-3A62-7C5BFA9A5018}"/>
          </ac:spMkLst>
        </pc:spChg>
        <pc:spChg chg="add mod">
          <ac:chgData name="Caio Oriente Pereira" userId="cf0d9a0a-e124-4c03-aa21-7658adfbd4b5" providerId="ADAL" clId="{75441B16-FE08-4556-BAC4-BFB7AB5FC131}" dt="2023-09-29T12:36:47.821" v="645" actId="164"/>
          <ac:spMkLst>
            <pc:docMk/>
            <pc:sldMk cId="90366110" sldId="2400"/>
            <ac:spMk id="6" creationId="{07EE7B85-3ECE-B7A9-D3DA-47E73D0F17A0}"/>
          </ac:spMkLst>
        </pc:spChg>
        <pc:spChg chg="add mod topLvl">
          <ac:chgData name="Caio Oriente Pereira" userId="cf0d9a0a-e124-4c03-aa21-7658adfbd4b5" providerId="ADAL" clId="{75441B16-FE08-4556-BAC4-BFB7AB5FC131}" dt="2023-09-29T12:48:38.504" v="906" actId="1035"/>
          <ac:spMkLst>
            <pc:docMk/>
            <pc:sldMk cId="90366110" sldId="2400"/>
            <ac:spMk id="7" creationId="{A70F6A11-D868-F314-C512-29C550456557}"/>
          </ac:spMkLst>
        </pc:spChg>
        <pc:spChg chg="add mod topLvl">
          <ac:chgData name="Caio Oriente Pereira" userId="cf0d9a0a-e124-4c03-aa21-7658adfbd4b5" providerId="ADAL" clId="{75441B16-FE08-4556-BAC4-BFB7AB5FC131}" dt="2023-09-29T12:48:41.448" v="908" actId="1035"/>
          <ac:spMkLst>
            <pc:docMk/>
            <pc:sldMk cId="90366110" sldId="2400"/>
            <ac:spMk id="9" creationId="{9C7E3BA3-64E5-4EF0-F7CB-DBA6A14DA6D2}"/>
          </ac:spMkLst>
        </pc:spChg>
        <pc:spChg chg="add mod topLvl">
          <ac:chgData name="Caio Oriente Pereira" userId="cf0d9a0a-e124-4c03-aa21-7658adfbd4b5" providerId="ADAL" clId="{75441B16-FE08-4556-BAC4-BFB7AB5FC131}" dt="2023-09-29T12:43:51.542" v="806" actId="165"/>
          <ac:spMkLst>
            <pc:docMk/>
            <pc:sldMk cId="90366110" sldId="2400"/>
            <ac:spMk id="10" creationId="{5D0B234D-3EC2-2A5A-D728-7F508F495E31}"/>
          </ac:spMkLst>
        </pc:spChg>
        <pc:spChg chg="add mod">
          <ac:chgData name="Caio Oriente Pereira" userId="cf0d9a0a-e124-4c03-aa21-7658adfbd4b5" providerId="ADAL" clId="{75441B16-FE08-4556-BAC4-BFB7AB5FC131}" dt="2023-09-29T12:49:14.601" v="936" actId="1035"/>
          <ac:spMkLst>
            <pc:docMk/>
            <pc:sldMk cId="90366110" sldId="2400"/>
            <ac:spMk id="11" creationId="{F9063446-CA6F-8B97-7B72-F5D4D0758564}"/>
          </ac:spMkLst>
        </pc:spChg>
        <pc:spChg chg="add mod topLvl">
          <ac:chgData name="Caio Oriente Pereira" userId="cf0d9a0a-e124-4c03-aa21-7658adfbd4b5" providerId="ADAL" clId="{75441B16-FE08-4556-BAC4-BFB7AB5FC131}" dt="2023-09-29T12:48:45.589" v="910" actId="1035"/>
          <ac:spMkLst>
            <pc:docMk/>
            <pc:sldMk cId="90366110" sldId="2400"/>
            <ac:spMk id="13" creationId="{AEAB21C1-2C5B-F32C-DC71-AAE0AA4D77A3}"/>
          </ac:spMkLst>
        </pc:spChg>
        <pc:spChg chg="add mod topLvl">
          <ac:chgData name="Caio Oriente Pereira" userId="cf0d9a0a-e124-4c03-aa21-7658adfbd4b5" providerId="ADAL" clId="{75441B16-FE08-4556-BAC4-BFB7AB5FC131}" dt="2023-09-29T12:43:51.542" v="806" actId="165"/>
          <ac:spMkLst>
            <pc:docMk/>
            <pc:sldMk cId="90366110" sldId="2400"/>
            <ac:spMk id="15" creationId="{1A001F7D-5B7E-9AD2-1E15-4A4FFF21DEB9}"/>
          </ac:spMkLst>
        </pc:spChg>
        <pc:spChg chg="add mod">
          <ac:chgData name="Caio Oriente Pereira" userId="cf0d9a0a-e124-4c03-aa21-7658adfbd4b5" providerId="ADAL" clId="{75441B16-FE08-4556-BAC4-BFB7AB5FC131}" dt="2023-09-29T12:49:09.588" v="931" actId="1035"/>
          <ac:spMkLst>
            <pc:docMk/>
            <pc:sldMk cId="90366110" sldId="2400"/>
            <ac:spMk id="16" creationId="{DE7F2CA9-0A2E-49A7-D013-310D918FE3A3}"/>
          </ac:spMkLst>
        </pc:spChg>
        <pc:spChg chg="add mod topLvl">
          <ac:chgData name="Caio Oriente Pereira" userId="cf0d9a0a-e124-4c03-aa21-7658adfbd4b5" providerId="ADAL" clId="{75441B16-FE08-4556-BAC4-BFB7AB5FC131}" dt="2023-09-29T12:48:47.942" v="912" actId="1035"/>
          <ac:spMkLst>
            <pc:docMk/>
            <pc:sldMk cId="90366110" sldId="2400"/>
            <ac:spMk id="18" creationId="{95B504BC-1586-AAF5-CF25-96BED1B54591}"/>
          </ac:spMkLst>
        </pc:spChg>
        <pc:spChg chg="add mod topLvl">
          <ac:chgData name="Caio Oriente Pereira" userId="cf0d9a0a-e124-4c03-aa21-7658adfbd4b5" providerId="ADAL" clId="{75441B16-FE08-4556-BAC4-BFB7AB5FC131}" dt="2023-09-29T12:43:51.542" v="806" actId="165"/>
          <ac:spMkLst>
            <pc:docMk/>
            <pc:sldMk cId="90366110" sldId="2400"/>
            <ac:spMk id="19" creationId="{B97BA62E-EDEC-A7AB-1C9D-B0FC1A001FBB}"/>
          </ac:spMkLst>
        </pc:spChg>
        <pc:spChg chg="add mod">
          <ac:chgData name="Caio Oriente Pereira" userId="cf0d9a0a-e124-4c03-aa21-7658adfbd4b5" providerId="ADAL" clId="{75441B16-FE08-4556-BAC4-BFB7AB5FC131}" dt="2023-09-29T12:48:59.850" v="921" actId="1035"/>
          <ac:spMkLst>
            <pc:docMk/>
            <pc:sldMk cId="90366110" sldId="2400"/>
            <ac:spMk id="20" creationId="{87D7D2B5-F292-3719-4B46-2CE86AF5E1D9}"/>
          </ac:spMkLst>
        </pc:spChg>
        <pc:spChg chg="add mod topLvl">
          <ac:chgData name="Caio Oriente Pereira" userId="cf0d9a0a-e124-4c03-aa21-7658adfbd4b5" providerId="ADAL" clId="{75441B16-FE08-4556-BAC4-BFB7AB5FC131}" dt="2023-09-29T12:48:53.250" v="916" actId="1035"/>
          <ac:spMkLst>
            <pc:docMk/>
            <pc:sldMk cId="90366110" sldId="2400"/>
            <ac:spMk id="22" creationId="{9BC2C254-ADC6-EFFD-0B13-AB23B11E2A84}"/>
          </ac:spMkLst>
        </pc:spChg>
        <pc:spChg chg="add mod topLvl">
          <ac:chgData name="Caio Oriente Pereira" userId="cf0d9a0a-e124-4c03-aa21-7658adfbd4b5" providerId="ADAL" clId="{75441B16-FE08-4556-BAC4-BFB7AB5FC131}" dt="2023-09-29T12:43:51.542" v="806" actId="165"/>
          <ac:spMkLst>
            <pc:docMk/>
            <pc:sldMk cId="90366110" sldId="2400"/>
            <ac:spMk id="23" creationId="{27E046CC-842F-C17B-CC85-B916AAB9A72B}"/>
          </ac:spMkLst>
        </pc:spChg>
        <pc:spChg chg="add mod">
          <ac:chgData name="Caio Oriente Pereira" userId="cf0d9a0a-e124-4c03-aa21-7658adfbd4b5" providerId="ADAL" clId="{75441B16-FE08-4556-BAC4-BFB7AB5FC131}" dt="2023-09-29T12:49:05.415" v="926" actId="1035"/>
          <ac:spMkLst>
            <pc:docMk/>
            <pc:sldMk cId="90366110" sldId="2400"/>
            <ac:spMk id="24" creationId="{FF4B4E97-77F9-CA99-3D1F-2BA0F907E346}"/>
          </ac:spMkLst>
        </pc:spChg>
        <pc:spChg chg="add mod topLvl">
          <ac:chgData name="Caio Oriente Pereira" userId="cf0d9a0a-e124-4c03-aa21-7658adfbd4b5" providerId="ADAL" clId="{75441B16-FE08-4556-BAC4-BFB7AB5FC131}" dt="2023-09-29T12:48:50.803" v="914" actId="1035"/>
          <ac:spMkLst>
            <pc:docMk/>
            <pc:sldMk cId="90366110" sldId="2400"/>
            <ac:spMk id="26" creationId="{A0E9A0C9-877F-BC65-A391-01EF4B0F8EFE}"/>
          </ac:spMkLst>
        </pc:spChg>
        <pc:spChg chg="add mod topLvl">
          <ac:chgData name="Caio Oriente Pereira" userId="cf0d9a0a-e124-4c03-aa21-7658adfbd4b5" providerId="ADAL" clId="{75441B16-FE08-4556-BAC4-BFB7AB5FC131}" dt="2023-09-29T12:43:51.542" v="806" actId="165"/>
          <ac:spMkLst>
            <pc:docMk/>
            <pc:sldMk cId="90366110" sldId="2400"/>
            <ac:spMk id="27" creationId="{CA978D7B-F796-A400-6E17-34652B840999}"/>
          </ac:spMkLst>
        </pc:spChg>
        <pc:spChg chg="add mod">
          <ac:chgData name="Caio Oriente Pereira" userId="cf0d9a0a-e124-4c03-aa21-7658adfbd4b5" providerId="ADAL" clId="{75441B16-FE08-4556-BAC4-BFB7AB5FC131}" dt="2023-09-29T12:36:58.889" v="647" actId="164"/>
          <ac:spMkLst>
            <pc:docMk/>
            <pc:sldMk cId="90366110" sldId="2400"/>
            <ac:spMk id="32" creationId="{FDBF55C7-AA98-C0ED-AAA8-7F2ADB2B0EE7}"/>
          </ac:spMkLst>
        </pc:spChg>
        <pc:grpChg chg="add del mod">
          <ac:chgData name="Caio Oriente Pereira" userId="cf0d9a0a-e124-4c03-aa21-7658adfbd4b5" providerId="ADAL" clId="{75441B16-FE08-4556-BAC4-BFB7AB5FC131}" dt="2023-09-29T12:33:49.266" v="613" actId="165"/>
          <ac:grpSpMkLst>
            <pc:docMk/>
            <pc:sldMk cId="90366110" sldId="2400"/>
            <ac:grpSpMk id="33" creationId="{3D725135-76AD-D7FA-5C34-B7D30028E766}"/>
          </ac:grpSpMkLst>
        </pc:grpChg>
        <pc:grpChg chg="add mod topLvl">
          <ac:chgData name="Caio Oriente Pereira" userId="cf0d9a0a-e124-4c03-aa21-7658adfbd4b5" providerId="ADAL" clId="{75441B16-FE08-4556-BAC4-BFB7AB5FC131}" dt="2023-09-29T12:43:51.542" v="806" actId="165"/>
          <ac:grpSpMkLst>
            <pc:docMk/>
            <pc:sldMk cId="90366110" sldId="2400"/>
            <ac:grpSpMk id="34" creationId="{91BEB314-5666-6B80-4E61-EACA5F6C946C}"/>
          </ac:grpSpMkLst>
        </pc:grpChg>
        <pc:grpChg chg="add mod topLvl">
          <ac:chgData name="Caio Oriente Pereira" userId="cf0d9a0a-e124-4c03-aa21-7658adfbd4b5" providerId="ADAL" clId="{75441B16-FE08-4556-BAC4-BFB7AB5FC131}" dt="2023-09-29T12:43:51.542" v="806" actId="165"/>
          <ac:grpSpMkLst>
            <pc:docMk/>
            <pc:sldMk cId="90366110" sldId="2400"/>
            <ac:grpSpMk id="35" creationId="{96867D26-7BE4-C0AA-F446-DD2A11C9A7EA}"/>
          </ac:grpSpMkLst>
        </pc:grpChg>
        <pc:grpChg chg="add mod topLvl">
          <ac:chgData name="Caio Oriente Pereira" userId="cf0d9a0a-e124-4c03-aa21-7658adfbd4b5" providerId="ADAL" clId="{75441B16-FE08-4556-BAC4-BFB7AB5FC131}" dt="2023-09-29T12:43:51.542" v="806" actId="165"/>
          <ac:grpSpMkLst>
            <pc:docMk/>
            <pc:sldMk cId="90366110" sldId="2400"/>
            <ac:grpSpMk id="36" creationId="{F7DB0A5F-D187-EEB7-D9D0-A11AC762D8D8}"/>
          </ac:grpSpMkLst>
        </pc:grpChg>
        <pc:grpChg chg="add mod topLvl">
          <ac:chgData name="Caio Oriente Pereira" userId="cf0d9a0a-e124-4c03-aa21-7658adfbd4b5" providerId="ADAL" clId="{75441B16-FE08-4556-BAC4-BFB7AB5FC131}" dt="2023-09-29T12:43:51.542" v="806" actId="165"/>
          <ac:grpSpMkLst>
            <pc:docMk/>
            <pc:sldMk cId="90366110" sldId="2400"/>
            <ac:grpSpMk id="37" creationId="{2A672158-8DDD-C0CF-A789-074F56701176}"/>
          </ac:grpSpMkLst>
        </pc:grpChg>
        <pc:grpChg chg="add mod topLvl">
          <ac:chgData name="Caio Oriente Pereira" userId="cf0d9a0a-e124-4c03-aa21-7658adfbd4b5" providerId="ADAL" clId="{75441B16-FE08-4556-BAC4-BFB7AB5FC131}" dt="2023-09-29T12:43:51.542" v="806" actId="165"/>
          <ac:grpSpMkLst>
            <pc:docMk/>
            <pc:sldMk cId="90366110" sldId="2400"/>
            <ac:grpSpMk id="38" creationId="{7C9629F1-88DC-A844-D5D9-9031ABF54BC6}"/>
          </ac:grpSpMkLst>
        </pc:grpChg>
        <pc:grpChg chg="add del mod">
          <ac:chgData name="Caio Oriente Pereira" userId="cf0d9a0a-e124-4c03-aa21-7658adfbd4b5" providerId="ADAL" clId="{75441B16-FE08-4556-BAC4-BFB7AB5FC131}" dt="2023-09-29T12:37:46.599" v="651" actId="165"/>
          <ac:grpSpMkLst>
            <pc:docMk/>
            <pc:sldMk cId="90366110" sldId="2400"/>
            <ac:grpSpMk id="39" creationId="{7FF86482-B010-EBB9-AFC3-1C1229983EF3}"/>
          </ac:grpSpMkLst>
        </pc:grpChg>
        <pc:grpChg chg="add del mod">
          <ac:chgData name="Caio Oriente Pereira" userId="cf0d9a0a-e124-4c03-aa21-7658adfbd4b5" providerId="ADAL" clId="{75441B16-FE08-4556-BAC4-BFB7AB5FC131}" dt="2023-09-29T12:39:16.459" v="668" actId="165"/>
          <ac:grpSpMkLst>
            <pc:docMk/>
            <pc:sldMk cId="90366110" sldId="2400"/>
            <ac:grpSpMk id="40" creationId="{76D13394-A281-A48A-C374-5050252BBB31}"/>
          </ac:grpSpMkLst>
        </pc:grpChg>
        <pc:grpChg chg="add del mod">
          <ac:chgData name="Caio Oriente Pereira" userId="cf0d9a0a-e124-4c03-aa21-7658adfbd4b5" providerId="ADAL" clId="{75441B16-FE08-4556-BAC4-BFB7AB5FC131}" dt="2023-09-29T12:38:23.397" v="658" actId="165"/>
          <ac:grpSpMkLst>
            <pc:docMk/>
            <pc:sldMk cId="90366110" sldId="2400"/>
            <ac:grpSpMk id="41" creationId="{0D12A0DD-FB4F-F3A2-095F-C0A1C7E03003}"/>
          </ac:grpSpMkLst>
        </pc:grpChg>
        <pc:grpChg chg="add del mod">
          <ac:chgData name="Caio Oriente Pereira" userId="cf0d9a0a-e124-4c03-aa21-7658adfbd4b5" providerId="ADAL" clId="{75441B16-FE08-4556-BAC4-BFB7AB5FC131}" dt="2023-09-29T12:38:54.482" v="665" actId="165"/>
          <ac:grpSpMkLst>
            <pc:docMk/>
            <pc:sldMk cId="90366110" sldId="2400"/>
            <ac:grpSpMk id="42" creationId="{44FE3802-28F2-C1F1-3768-C17F36FEA4C2}"/>
          </ac:grpSpMkLst>
        </pc:grpChg>
        <pc:grpChg chg="add del mod">
          <ac:chgData name="Caio Oriente Pereira" userId="cf0d9a0a-e124-4c03-aa21-7658adfbd4b5" providerId="ADAL" clId="{75441B16-FE08-4556-BAC4-BFB7AB5FC131}" dt="2023-09-29T12:38:33.366" v="661" actId="165"/>
          <ac:grpSpMkLst>
            <pc:docMk/>
            <pc:sldMk cId="90366110" sldId="2400"/>
            <ac:grpSpMk id="43" creationId="{BBEAD996-1A4C-6383-4036-CB66F4EB0FA0}"/>
          </ac:grpSpMkLst>
        </pc:grpChg>
        <pc:grpChg chg="add mod">
          <ac:chgData name="Caio Oriente Pereira" userId="cf0d9a0a-e124-4c03-aa21-7658adfbd4b5" providerId="ADAL" clId="{75441B16-FE08-4556-BAC4-BFB7AB5FC131}" dt="2023-09-29T12:40:35.905" v="701" actId="1035"/>
          <ac:grpSpMkLst>
            <pc:docMk/>
            <pc:sldMk cId="90366110" sldId="2400"/>
            <ac:grpSpMk id="44" creationId="{E9A8FE4B-D930-79EE-ED48-0674EC4EBD73}"/>
          </ac:grpSpMkLst>
        </pc:grpChg>
        <pc:grpChg chg="add mod">
          <ac:chgData name="Caio Oriente Pereira" userId="cf0d9a0a-e124-4c03-aa21-7658adfbd4b5" providerId="ADAL" clId="{75441B16-FE08-4556-BAC4-BFB7AB5FC131}" dt="2023-09-29T12:40:42.389" v="716" actId="1035"/>
          <ac:grpSpMkLst>
            <pc:docMk/>
            <pc:sldMk cId="90366110" sldId="2400"/>
            <ac:grpSpMk id="45" creationId="{7358D1B6-5FE0-E563-57B9-18C02169C450}"/>
          </ac:grpSpMkLst>
        </pc:grpChg>
        <pc:grpChg chg="add del mod">
          <ac:chgData name="Caio Oriente Pereira" userId="cf0d9a0a-e124-4c03-aa21-7658adfbd4b5" providerId="ADAL" clId="{75441B16-FE08-4556-BAC4-BFB7AB5FC131}" dt="2023-09-29T12:49:22.515" v="937" actId="554"/>
          <ac:grpSpMkLst>
            <pc:docMk/>
            <pc:sldMk cId="90366110" sldId="2400"/>
            <ac:grpSpMk id="46" creationId="{A216FF9F-0416-D0C0-4D84-19674EFA7096}"/>
          </ac:grpSpMkLst>
        </pc:grpChg>
        <pc:grpChg chg="add del mod">
          <ac:chgData name="Caio Oriente Pereira" userId="cf0d9a0a-e124-4c03-aa21-7658adfbd4b5" providerId="ADAL" clId="{75441B16-FE08-4556-BAC4-BFB7AB5FC131}" dt="2023-09-29T12:49:22.515" v="937" actId="554"/>
          <ac:grpSpMkLst>
            <pc:docMk/>
            <pc:sldMk cId="90366110" sldId="2400"/>
            <ac:grpSpMk id="47" creationId="{5C463C0D-4371-2DA6-6A5D-3AEEB1D0BA9B}"/>
          </ac:grpSpMkLst>
        </pc:grpChg>
        <pc:grpChg chg="add del mod">
          <ac:chgData name="Caio Oriente Pereira" userId="cf0d9a0a-e124-4c03-aa21-7658adfbd4b5" providerId="ADAL" clId="{75441B16-FE08-4556-BAC4-BFB7AB5FC131}" dt="2023-09-29T12:49:22.515" v="937" actId="554"/>
          <ac:grpSpMkLst>
            <pc:docMk/>
            <pc:sldMk cId="90366110" sldId="2400"/>
            <ac:grpSpMk id="48" creationId="{723D3D06-1CC9-C0B5-90AD-8C8D6F71DD4A}"/>
          </ac:grpSpMkLst>
        </pc:grpChg>
        <pc:grpChg chg="add del mod">
          <ac:chgData name="Caio Oriente Pereira" userId="cf0d9a0a-e124-4c03-aa21-7658adfbd4b5" providerId="ADAL" clId="{75441B16-FE08-4556-BAC4-BFB7AB5FC131}" dt="2023-09-29T12:49:22.515" v="937" actId="554"/>
          <ac:grpSpMkLst>
            <pc:docMk/>
            <pc:sldMk cId="90366110" sldId="2400"/>
            <ac:grpSpMk id="49" creationId="{EDCD527C-EAD1-302C-C1CC-9393C8CCD576}"/>
          </ac:grpSpMkLst>
        </pc:grpChg>
        <pc:grpChg chg="add del mod">
          <ac:chgData name="Caio Oriente Pereira" userId="cf0d9a0a-e124-4c03-aa21-7658adfbd4b5" providerId="ADAL" clId="{75441B16-FE08-4556-BAC4-BFB7AB5FC131}" dt="2023-09-29T12:49:22.515" v="937" actId="554"/>
          <ac:grpSpMkLst>
            <pc:docMk/>
            <pc:sldMk cId="90366110" sldId="2400"/>
            <ac:grpSpMk id="50" creationId="{27940DF6-96D4-A167-1E1A-9A651A2F893C}"/>
          </ac:grpSpMkLst>
        </pc:grpChg>
        <pc:picChg chg="add mod topLvl">
          <ac:chgData name="Caio Oriente Pereira" userId="cf0d9a0a-e124-4c03-aa21-7658adfbd4b5" providerId="ADAL" clId="{75441B16-FE08-4556-BAC4-BFB7AB5FC131}" dt="2023-09-29T12:48:38.504" v="906" actId="1035"/>
          <ac:picMkLst>
            <pc:docMk/>
            <pc:sldMk cId="90366110" sldId="2400"/>
            <ac:picMk id="8" creationId="{3F571315-8D82-A3F0-C1BC-7ECD38E64668}"/>
          </ac:picMkLst>
        </pc:picChg>
        <pc:picChg chg="add mod">
          <ac:chgData name="Caio Oriente Pereira" userId="cf0d9a0a-e124-4c03-aa21-7658adfbd4b5" providerId="ADAL" clId="{75441B16-FE08-4556-BAC4-BFB7AB5FC131}" dt="2023-09-29T12:49:14.601" v="936" actId="1035"/>
          <ac:picMkLst>
            <pc:docMk/>
            <pc:sldMk cId="90366110" sldId="2400"/>
            <ac:picMk id="12" creationId="{55CBC5D0-2460-3F9F-6A5B-0FAA543A9586}"/>
          </ac:picMkLst>
        </pc:picChg>
        <pc:picChg chg="add mod">
          <ac:chgData name="Caio Oriente Pereira" userId="cf0d9a0a-e124-4c03-aa21-7658adfbd4b5" providerId="ADAL" clId="{75441B16-FE08-4556-BAC4-BFB7AB5FC131}" dt="2023-09-29T12:49:09.588" v="931" actId="1035"/>
          <ac:picMkLst>
            <pc:docMk/>
            <pc:sldMk cId="90366110" sldId="2400"/>
            <ac:picMk id="17" creationId="{3593833B-FC24-28D1-B0A0-39A44C16870A}"/>
          </ac:picMkLst>
        </pc:picChg>
        <pc:picChg chg="add mod">
          <ac:chgData name="Caio Oriente Pereira" userId="cf0d9a0a-e124-4c03-aa21-7658adfbd4b5" providerId="ADAL" clId="{75441B16-FE08-4556-BAC4-BFB7AB5FC131}" dt="2023-09-29T12:48:59.850" v="921" actId="1035"/>
          <ac:picMkLst>
            <pc:docMk/>
            <pc:sldMk cId="90366110" sldId="2400"/>
            <ac:picMk id="21" creationId="{DDB299E0-4037-AF1E-0D63-603FD4F95FD4}"/>
          </ac:picMkLst>
        </pc:picChg>
        <pc:picChg chg="add mod">
          <ac:chgData name="Caio Oriente Pereira" userId="cf0d9a0a-e124-4c03-aa21-7658adfbd4b5" providerId="ADAL" clId="{75441B16-FE08-4556-BAC4-BFB7AB5FC131}" dt="2023-09-29T12:49:05.415" v="926" actId="1035"/>
          <ac:picMkLst>
            <pc:docMk/>
            <pc:sldMk cId="90366110" sldId="2400"/>
            <ac:picMk id="25" creationId="{16BC095E-FB61-6B9A-8501-AE5FDBD02438}"/>
          </ac:picMkLst>
        </pc:picChg>
        <pc:cxnChg chg="add del mod">
          <ac:chgData name="Caio Oriente Pereira" userId="cf0d9a0a-e124-4c03-aa21-7658adfbd4b5" providerId="ADAL" clId="{75441B16-FE08-4556-BAC4-BFB7AB5FC131}" dt="2023-09-29T12:43:18.592" v="800" actId="408"/>
          <ac:cxnSpMkLst>
            <pc:docMk/>
            <pc:sldMk cId="90366110" sldId="2400"/>
            <ac:cxnSpMk id="28" creationId="{546D30C9-A946-B471-6526-360F9E867941}"/>
          </ac:cxnSpMkLst>
        </pc:cxnChg>
        <pc:cxnChg chg="add del mod">
          <ac:chgData name="Caio Oriente Pereira" userId="cf0d9a0a-e124-4c03-aa21-7658adfbd4b5" providerId="ADAL" clId="{75441B16-FE08-4556-BAC4-BFB7AB5FC131}" dt="2023-09-29T12:43:18.592" v="800" actId="408"/>
          <ac:cxnSpMkLst>
            <pc:docMk/>
            <pc:sldMk cId="90366110" sldId="2400"/>
            <ac:cxnSpMk id="29" creationId="{F8CE03D9-8221-DA48-9689-205BB8DCCF53}"/>
          </ac:cxnSpMkLst>
        </pc:cxnChg>
        <pc:cxnChg chg="add del mod">
          <ac:chgData name="Caio Oriente Pereira" userId="cf0d9a0a-e124-4c03-aa21-7658adfbd4b5" providerId="ADAL" clId="{75441B16-FE08-4556-BAC4-BFB7AB5FC131}" dt="2023-09-29T12:43:18.592" v="800" actId="408"/>
          <ac:cxnSpMkLst>
            <pc:docMk/>
            <pc:sldMk cId="90366110" sldId="2400"/>
            <ac:cxnSpMk id="30" creationId="{7B19E07F-941C-646A-74E2-BD2CF626432C}"/>
          </ac:cxnSpMkLst>
        </pc:cxnChg>
        <pc:cxnChg chg="add mod">
          <ac:chgData name="Caio Oriente Pereira" userId="cf0d9a0a-e124-4c03-aa21-7658adfbd4b5" providerId="ADAL" clId="{75441B16-FE08-4556-BAC4-BFB7AB5FC131}" dt="2023-09-29T12:43:18.592" v="800" actId="408"/>
          <ac:cxnSpMkLst>
            <pc:docMk/>
            <pc:sldMk cId="90366110" sldId="2400"/>
            <ac:cxnSpMk id="31" creationId="{8A1092B9-0188-BDE6-BAF3-A8444DC02B07}"/>
          </ac:cxnSpMkLst>
        </pc:cxnChg>
      </pc:sldChg>
      <pc:sldChg chg="addSp delSp modSp add mod modNotesTx">
        <pc:chgData name="Caio Oriente Pereira" userId="cf0d9a0a-e124-4c03-aa21-7658adfbd4b5" providerId="ADAL" clId="{75441B16-FE08-4556-BAC4-BFB7AB5FC131}" dt="2023-10-03T20:03:56.424" v="1585" actId="113"/>
        <pc:sldMkLst>
          <pc:docMk/>
          <pc:sldMk cId="3875483333" sldId="2401"/>
        </pc:sldMkLst>
        <pc:spChg chg="del">
          <ac:chgData name="Caio Oriente Pereira" userId="cf0d9a0a-e124-4c03-aa21-7658adfbd4b5" providerId="ADAL" clId="{75441B16-FE08-4556-BAC4-BFB7AB5FC131}" dt="2023-09-29T11:55:35.620" v="226" actId="478"/>
          <ac:spMkLst>
            <pc:docMk/>
            <pc:sldMk cId="3875483333" sldId="2401"/>
            <ac:spMk id="2" creationId="{6EB0A898-7FAB-4C4C-8E69-F2587D074174}"/>
          </ac:spMkLst>
        </pc:spChg>
        <pc:spChg chg="mod">
          <ac:chgData name="Caio Oriente Pereira" userId="cf0d9a0a-e124-4c03-aa21-7658adfbd4b5" providerId="ADAL" clId="{75441B16-FE08-4556-BAC4-BFB7AB5FC131}" dt="2023-09-29T14:39:30.025" v="1158" actId="790"/>
          <ac:spMkLst>
            <pc:docMk/>
            <pc:sldMk cId="3875483333" sldId="2401"/>
            <ac:spMk id="3" creationId="{305507F4-E351-B93B-BD52-A2DD35DA6C97}"/>
          </ac:spMkLst>
        </pc:spChg>
        <pc:graphicFrameChg chg="add mod modGraphic">
          <ac:chgData name="Caio Oriente Pereira" userId="cf0d9a0a-e124-4c03-aa21-7658adfbd4b5" providerId="ADAL" clId="{75441B16-FE08-4556-BAC4-BFB7AB5FC131}" dt="2023-10-03T20:03:56.424" v="1585" actId="113"/>
          <ac:graphicFrameMkLst>
            <pc:docMk/>
            <pc:sldMk cId="3875483333" sldId="2401"/>
            <ac:graphicFrameMk id="4" creationId="{E2908805-0139-1B07-6F38-A00C308421E6}"/>
          </ac:graphicFrameMkLst>
        </pc:graphicFrameChg>
      </pc:sldChg>
      <pc:sldChg chg="addSp delSp modSp add mod modNotesTx">
        <pc:chgData name="Caio Oriente Pereira" userId="cf0d9a0a-e124-4c03-aa21-7658adfbd4b5" providerId="ADAL" clId="{75441B16-FE08-4556-BAC4-BFB7AB5FC131}" dt="2023-10-04T13:40:18.871" v="2227" actId="20577"/>
        <pc:sldMkLst>
          <pc:docMk/>
          <pc:sldMk cId="758079285" sldId="2402"/>
        </pc:sldMkLst>
        <pc:spChg chg="del">
          <ac:chgData name="Caio Oriente Pereira" userId="cf0d9a0a-e124-4c03-aa21-7658adfbd4b5" providerId="ADAL" clId="{75441B16-FE08-4556-BAC4-BFB7AB5FC131}" dt="2023-09-29T11:55:37.555" v="227" actId="478"/>
          <ac:spMkLst>
            <pc:docMk/>
            <pc:sldMk cId="758079285" sldId="2402"/>
            <ac:spMk id="2" creationId="{6EB0A898-7FAB-4C4C-8E69-F2587D074174}"/>
          </ac:spMkLst>
        </pc:spChg>
        <pc:spChg chg="mod">
          <ac:chgData name="Caio Oriente Pereira" userId="cf0d9a0a-e124-4c03-aa21-7658adfbd4b5" providerId="ADAL" clId="{75441B16-FE08-4556-BAC4-BFB7AB5FC131}" dt="2023-09-29T14:50:14.413" v="1259" actId="20577"/>
          <ac:spMkLst>
            <pc:docMk/>
            <pc:sldMk cId="758079285" sldId="2402"/>
            <ac:spMk id="3" creationId="{305507F4-E351-B93B-BD52-A2DD35DA6C97}"/>
          </ac:spMkLst>
        </pc:spChg>
        <pc:spChg chg="mod topLvl">
          <ac:chgData name="Caio Oriente Pereira" userId="cf0d9a0a-e124-4c03-aa21-7658adfbd4b5" providerId="ADAL" clId="{75441B16-FE08-4556-BAC4-BFB7AB5FC131}" dt="2023-10-03T21:18:02.822" v="2117" actId="403"/>
          <ac:spMkLst>
            <pc:docMk/>
            <pc:sldMk cId="758079285" sldId="2402"/>
            <ac:spMk id="6" creationId="{F60F846E-8E80-A7DF-1E87-6D52346ADD49}"/>
          </ac:spMkLst>
        </pc:spChg>
        <pc:spChg chg="mod topLvl">
          <ac:chgData name="Caio Oriente Pereira" userId="cf0d9a0a-e124-4c03-aa21-7658adfbd4b5" providerId="ADAL" clId="{75441B16-FE08-4556-BAC4-BFB7AB5FC131}" dt="2023-10-04T13:40:18.871" v="2227" actId="20577"/>
          <ac:spMkLst>
            <pc:docMk/>
            <pc:sldMk cId="758079285" sldId="2402"/>
            <ac:spMk id="7" creationId="{ECA6CAC4-7EAA-EDF9-6CFE-31475C17C1C4}"/>
          </ac:spMkLst>
        </pc:spChg>
        <pc:spChg chg="mod">
          <ac:chgData name="Caio Oriente Pereira" userId="cf0d9a0a-e124-4c03-aa21-7658adfbd4b5" providerId="ADAL" clId="{75441B16-FE08-4556-BAC4-BFB7AB5FC131}" dt="2023-09-29T14:52:59.685" v="1307" actId="165"/>
          <ac:spMkLst>
            <pc:docMk/>
            <pc:sldMk cId="758079285" sldId="2402"/>
            <ac:spMk id="8" creationId="{C331B55F-0505-AC73-42AA-B29B1711CF7E}"/>
          </ac:spMkLst>
        </pc:spChg>
        <pc:spChg chg="mod topLvl">
          <ac:chgData name="Caio Oriente Pereira" userId="cf0d9a0a-e124-4c03-aa21-7658adfbd4b5" providerId="ADAL" clId="{75441B16-FE08-4556-BAC4-BFB7AB5FC131}" dt="2023-10-03T21:18:02.822" v="2117" actId="403"/>
          <ac:spMkLst>
            <pc:docMk/>
            <pc:sldMk cId="758079285" sldId="2402"/>
            <ac:spMk id="12" creationId="{77331038-4FF6-DC64-20DB-390F0905D9FE}"/>
          </ac:spMkLst>
        </pc:spChg>
        <pc:spChg chg="del mod topLvl">
          <ac:chgData name="Caio Oriente Pereira" userId="cf0d9a0a-e124-4c03-aa21-7658adfbd4b5" providerId="ADAL" clId="{75441B16-FE08-4556-BAC4-BFB7AB5FC131}" dt="2023-10-03T21:17:44.015" v="2113" actId="478"/>
          <ac:spMkLst>
            <pc:docMk/>
            <pc:sldMk cId="758079285" sldId="2402"/>
            <ac:spMk id="13" creationId="{30BAC0E9-AAC3-D217-53EC-F8B003CA0D5D}"/>
          </ac:spMkLst>
        </pc:spChg>
        <pc:spChg chg="mod">
          <ac:chgData name="Caio Oriente Pereira" userId="cf0d9a0a-e124-4c03-aa21-7658adfbd4b5" providerId="ADAL" clId="{75441B16-FE08-4556-BAC4-BFB7AB5FC131}" dt="2023-09-29T14:53:29.498" v="1317" actId="165"/>
          <ac:spMkLst>
            <pc:docMk/>
            <pc:sldMk cId="758079285" sldId="2402"/>
            <ac:spMk id="15" creationId="{BC9D660B-5E2B-5476-03FD-02318E928970}"/>
          </ac:spMkLst>
        </pc:spChg>
        <pc:grpChg chg="add del mod">
          <ac:chgData name="Caio Oriente Pereira" userId="cf0d9a0a-e124-4c03-aa21-7658adfbd4b5" providerId="ADAL" clId="{75441B16-FE08-4556-BAC4-BFB7AB5FC131}" dt="2023-09-29T14:52:59.685" v="1307" actId="165"/>
          <ac:grpSpMkLst>
            <pc:docMk/>
            <pc:sldMk cId="758079285" sldId="2402"/>
            <ac:grpSpMk id="4" creationId="{3E4E7199-2E8D-1331-9154-2C28CE3CDCFD}"/>
          </ac:grpSpMkLst>
        </pc:grpChg>
        <pc:grpChg chg="mod topLvl">
          <ac:chgData name="Caio Oriente Pereira" userId="cf0d9a0a-e124-4c03-aa21-7658adfbd4b5" providerId="ADAL" clId="{75441B16-FE08-4556-BAC4-BFB7AB5FC131}" dt="2023-09-29T14:53:05.523" v="1308" actId="1076"/>
          <ac:grpSpMkLst>
            <pc:docMk/>
            <pc:sldMk cId="758079285" sldId="2402"/>
            <ac:grpSpMk id="5" creationId="{490A0032-6999-7C8F-D7BE-64BD82CAC775}"/>
          </ac:grpSpMkLst>
        </pc:grpChg>
        <pc:grpChg chg="add del mod">
          <ac:chgData name="Caio Oriente Pereira" userId="cf0d9a0a-e124-4c03-aa21-7658adfbd4b5" providerId="ADAL" clId="{75441B16-FE08-4556-BAC4-BFB7AB5FC131}" dt="2023-09-29T14:53:29.498" v="1317" actId="165"/>
          <ac:grpSpMkLst>
            <pc:docMk/>
            <pc:sldMk cId="758079285" sldId="2402"/>
            <ac:grpSpMk id="10" creationId="{75FC38F4-0A3F-038C-81EA-303E7D0E4D86}"/>
          </ac:grpSpMkLst>
        </pc:grpChg>
        <pc:grpChg chg="mod topLvl">
          <ac:chgData name="Caio Oriente Pereira" userId="cf0d9a0a-e124-4c03-aa21-7658adfbd4b5" providerId="ADAL" clId="{75441B16-FE08-4556-BAC4-BFB7AB5FC131}" dt="2023-09-29T14:53:34.232" v="1318" actId="1076"/>
          <ac:grpSpMkLst>
            <pc:docMk/>
            <pc:sldMk cId="758079285" sldId="2402"/>
            <ac:grpSpMk id="11" creationId="{1F965707-C737-A39F-2C1B-1846776D5751}"/>
          </ac:grpSpMkLst>
        </pc:grpChg>
        <pc:picChg chg="mod">
          <ac:chgData name="Caio Oriente Pereira" userId="cf0d9a0a-e124-4c03-aa21-7658adfbd4b5" providerId="ADAL" clId="{75441B16-FE08-4556-BAC4-BFB7AB5FC131}" dt="2023-09-29T14:52:59.685" v="1307" actId="165"/>
          <ac:picMkLst>
            <pc:docMk/>
            <pc:sldMk cId="758079285" sldId="2402"/>
            <ac:picMk id="9" creationId="{DADFCCDA-E83B-DDFE-0527-14DCA0ABCBF7}"/>
          </ac:picMkLst>
        </pc:picChg>
        <pc:picChg chg="mod">
          <ac:chgData name="Caio Oriente Pereira" userId="cf0d9a0a-e124-4c03-aa21-7658adfbd4b5" providerId="ADAL" clId="{75441B16-FE08-4556-BAC4-BFB7AB5FC131}" dt="2023-09-29T14:53:29.498" v="1317" actId="165"/>
          <ac:picMkLst>
            <pc:docMk/>
            <pc:sldMk cId="758079285" sldId="2402"/>
            <ac:picMk id="16" creationId="{B1B8F530-903B-E0AC-6651-06580787B1F8}"/>
          </ac:picMkLst>
        </pc:picChg>
        <pc:cxnChg chg="add del mod">
          <ac:chgData name="Caio Oriente Pereira" userId="cf0d9a0a-e124-4c03-aa21-7658adfbd4b5" providerId="ADAL" clId="{75441B16-FE08-4556-BAC4-BFB7AB5FC131}" dt="2023-10-03T21:17:41.862" v="2112" actId="478"/>
          <ac:cxnSpMkLst>
            <pc:docMk/>
            <pc:sldMk cId="758079285" sldId="2402"/>
            <ac:cxnSpMk id="17" creationId="{D97D62E2-DA0C-B1DB-ABD1-3261951AC8B0}"/>
          </ac:cxnSpMkLst>
        </pc:cxnChg>
        <pc:cxnChg chg="add del mod">
          <ac:chgData name="Caio Oriente Pereira" userId="cf0d9a0a-e124-4c03-aa21-7658adfbd4b5" providerId="ADAL" clId="{75441B16-FE08-4556-BAC4-BFB7AB5FC131}" dt="2023-09-29T14:50:24.605" v="1261" actId="478"/>
          <ac:cxnSpMkLst>
            <pc:docMk/>
            <pc:sldMk cId="758079285" sldId="2402"/>
            <ac:cxnSpMk id="18" creationId="{F72FA635-1463-7BE2-3112-FF8BC5EF6BC1}"/>
          </ac:cxnSpMkLst>
        </pc:cxnChg>
      </pc:sldChg>
      <pc:sldChg chg="delSp modSp add mod modNotesTx">
        <pc:chgData name="Caio Oriente Pereira" userId="cf0d9a0a-e124-4c03-aa21-7658adfbd4b5" providerId="ADAL" clId="{75441B16-FE08-4556-BAC4-BFB7AB5FC131}" dt="2023-10-03T19:46:48.354" v="1450" actId="6549"/>
        <pc:sldMkLst>
          <pc:docMk/>
          <pc:sldMk cId="2273054326" sldId="2403"/>
        </pc:sldMkLst>
        <pc:spChg chg="del">
          <ac:chgData name="Caio Oriente Pereira" userId="cf0d9a0a-e124-4c03-aa21-7658adfbd4b5" providerId="ADAL" clId="{75441B16-FE08-4556-BAC4-BFB7AB5FC131}" dt="2023-09-29T11:55:39.406" v="228" actId="478"/>
          <ac:spMkLst>
            <pc:docMk/>
            <pc:sldMk cId="2273054326" sldId="2403"/>
            <ac:spMk id="2" creationId="{6EB0A898-7FAB-4C4C-8E69-F2587D074174}"/>
          </ac:spMkLst>
        </pc:spChg>
        <pc:spChg chg="mod">
          <ac:chgData name="Caio Oriente Pereira" userId="cf0d9a0a-e124-4c03-aa21-7658adfbd4b5" providerId="ADAL" clId="{75441B16-FE08-4556-BAC4-BFB7AB5FC131}" dt="2023-09-28T19:49:00.888" v="150" actId="20577"/>
          <ac:spMkLst>
            <pc:docMk/>
            <pc:sldMk cId="2273054326" sldId="2403"/>
            <ac:spMk id="3" creationId="{305507F4-E351-B93B-BD52-A2DD35DA6C97}"/>
          </ac:spMkLst>
        </pc:spChg>
      </pc:sldChg>
      <pc:sldChg chg="delSp modSp add del mod">
        <pc:chgData name="Caio Oriente Pereira" userId="cf0d9a0a-e124-4c03-aa21-7658adfbd4b5" providerId="ADAL" clId="{75441B16-FE08-4556-BAC4-BFB7AB5FC131}" dt="2023-10-03T18:54:03.357" v="1400" actId="47"/>
        <pc:sldMkLst>
          <pc:docMk/>
          <pc:sldMk cId="2774544544" sldId="2404"/>
        </pc:sldMkLst>
        <pc:spChg chg="del">
          <ac:chgData name="Caio Oriente Pereira" userId="cf0d9a0a-e124-4c03-aa21-7658adfbd4b5" providerId="ADAL" clId="{75441B16-FE08-4556-BAC4-BFB7AB5FC131}" dt="2023-09-29T11:55:41.171" v="229" actId="478"/>
          <ac:spMkLst>
            <pc:docMk/>
            <pc:sldMk cId="2774544544" sldId="2404"/>
            <ac:spMk id="2" creationId="{6EB0A898-7FAB-4C4C-8E69-F2587D074174}"/>
          </ac:spMkLst>
        </pc:spChg>
        <pc:spChg chg="mod">
          <ac:chgData name="Caio Oriente Pereira" userId="cf0d9a0a-e124-4c03-aa21-7658adfbd4b5" providerId="ADAL" clId="{75441B16-FE08-4556-BAC4-BFB7AB5FC131}" dt="2023-09-28T19:49:53" v="186" actId="20577"/>
          <ac:spMkLst>
            <pc:docMk/>
            <pc:sldMk cId="2774544544" sldId="2404"/>
            <ac:spMk id="3" creationId="{305507F4-E351-B93B-BD52-A2DD35DA6C97}"/>
          </ac:spMkLst>
        </pc:spChg>
      </pc:sldChg>
      <pc:sldChg chg="add del">
        <pc:chgData name="Caio Oriente Pereira" userId="cf0d9a0a-e124-4c03-aa21-7658adfbd4b5" providerId="ADAL" clId="{75441B16-FE08-4556-BAC4-BFB7AB5FC131}" dt="2023-09-28T19:49:06.471" v="151" actId="47"/>
        <pc:sldMkLst>
          <pc:docMk/>
          <pc:sldMk cId="2898449337" sldId="2404"/>
        </pc:sldMkLst>
      </pc:sldChg>
      <pc:sldChg chg="delSp modSp add del mod">
        <pc:chgData name="Caio Oriente Pereira" userId="cf0d9a0a-e124-4c03-aa21-7658adfbd4b5" providerId="ADAL" clId="{75441B16-FE08-4556-BAC4-BFB7AB5FC131}" dt="2023-10-03T18:54:05.725" v="1401" actId="47"/>
        <pc:sldMkLst>
          <pc:docMk/>
          <pc:sldMk cId="2449727055" sldId="2405"/>
        </pc:sldMkLst>
        <pc:spChg chg="del">
          <ac:chgData name="Caio Oriente Pereira" userId="cf0d9a0a-e124-4c03-aa21-7658adfbd4b5" providerId="ADAL" clId="{75441B16-FE08-4556-BAC4-BFB7AB5FC131}" dt="2023-09-29T11:55:42.628" v="230" actId="478"/>
          <ac:spMkLst>
            <pc:docMk/>
            <pc:sldMk cId="2449727055" sldId="2405"/>
            <ac:spMk id="2" creationId="{6EB0A898-7FAB-4C4C-8E69-F2587D074174}"/>
          </ac:spMkLst>
        </pc:spChg>
        <pc:spChg chg="mod">
          <ac:chgData name="Caio Oriente Pereira" userId="cf0d9a0a-e124-4c03-aa21-7658adfbd4b5" providerId="ADAL" clId="{75441B16-FE08-4556-BAC4-BFB7AB5FC131}" dt="2023-09-28T19:50:02.820" v="201" actId="20577"/>
          <ac:spMkLst>
            <pc:docMk/>
            <pc:sldMk cId="2449727055" sldId="2405"/>
            <ac:spMk id="3" creationId="{305507F4-E351-B93B-BD52-A2DD35DA6C97}"/>
          </ac:spMkLst>
        </pc:spChg>
      </pc:sldChg>
      <pc:sldChg chg="addSp delSp modSp add mod modNotesTx">
        <pc:chgData name="Caio Oriente Pereira" userId="cf0d9a0a-e124-4c03-aa21-7658adfbd4b5" providerId="ADAL" clId="{75441B16-FE08-4556-BAC4-BFB7AB5FC131}" dt="2023-10-04T15:09:16.136" v="2952" actId="1037"/>
        <pc:sldMkLst>
          <pc:docMk/>
          <pc:sldMk cId="3990835118" sldId="2406"/>
        </pc:sldMkLst>
        <pc:spChg chg="del">
          <ac:chgData name="Caio Oriente Pereira" userId="cf0d9a0a-e124-4c03-aa21-7658adfbd4b5" providerId="ADAL" clId="{75441B16-FE08-4556-BAC4-BFB7AB5FC131}" dt="2023-09-29T11:55:44.280" v="231" actId="478"/>
          <ac:spMkLst>
            <pc:docMk/>
            <pc:sldMk cId="3990835118" sldId="2406"/>
            <ac:spMk id="2" creationId="{6EB0A898-7FAB-4C4C-8E69-F2587D074174}"/>
          </ac:spMkLst>
        </pc:spChg>
        <pc:spChg chg="mod">
          <ac:chgData name="Caio Oriente Pereira" userId="cf0d9a0a-e124-4c03-aa21-7658adfbd4b5" providerId="ADAL" clId="{75441B16-FE08-4556-BAC4-BFB7AB5FC131}" dt="2023-10-04T15:03:12.822" v="2917" actId="6549"/>
          <ac:spMkLst>
            <pc:docMk/>
            <pc:sldMk cId="3990835118" sldId="2406"/>
            <ac:spMk id="3" creationId="{305507F4-E351-B93B-BD52-A2DD35DA6C97}"/>
          </ac:spMkLst>
        </pc:spChg>
        <pc:spChg chg="add del mod topLvl">
          <ac:chgData name="Caio Oriente Pereira" userId="cf0d9a0a-e124-4c03-aa21-7658adfbd4b5" providerId="ADAL" clId="{75441B16-FE08-4556-BAC4-BFB7AB5FC131}" dt="2023-10-04T14:35:43.581" v="2772" actId="478"/>
          <ac:spMkLst>
            <pc:docMk/>
            <pc:sldMk cId="3990835118" sldId="2406"/>
            <ac:spMk id="5" creationId="{91CE3767-D938-40A3-AE16-67C816444282}"/>
          </ac:spMkLst>
        </pc:spChg>
        <pc:spChg chg="add del mod topLvl">
          <ac:chgData name="Caio Oriente Pereira" userId="cf0d9a0a-e124-4c03-aa21-7658adfbd4b5" providerId="ADAL" clId="{75441B16-FE08-4556-BAC4-BFB7AB5FC131}" dt="2023-10-04T14:35:43.581" v="2772" actId="478"/>
          <ac:spMkLst>
            <pc:docMk/>
            <pc:sldMk cId="3990835118" sldId="2406"/>
            <ac:spMk id="6" creationId="{25CD967A-6221-F1CE-B6C8-5951536A69FE}"/>
          </ac:spMkLst>
        </pc:spChg>
        <pc:spChg chg="add mod">
          <ac:chgData name="Caio Oriente Pereira" userId="cf0d9a0a-e124-4c03-aa21-7658adfbd4b5" providerId="ADAL" clId="{75441B16-FE08-4556-BAC4-BFB7AB5FC131}" dt="2023-10-04T14:37:06.528" v="2815" actId="164"/>
          <ac:spMkLst>
            <pc:docMk/>
            <pc:sldMk cId="3990835118" sldId="2406"/>
            <ac:spMk id="8" creationId="{541C5DA4-8C72-1463-9316-D8B964955F83}"/>
          </ac:spMkLst>
        </pc:spChg>
        <pc:spChg chg="add mod">
          <ac:chgData name="Caio Oriente Pereira" userId="cf0d9a0a-e124-4c03-aa21-7658adfbd4b5" providerId="ADAL" clId="{75441B16-FE08-4556-BAC4-BFB7AB5FC131}" dt="2023-10-04T14:37:06.528" v="2815" actId="164"/>
          <ac:spMkLst>
            <pc:docMk/>
            <pc:sldMk cId="3990835118" sldId="2406"/>
            <ac:spMk id="9" creationId="{13208774-F78F-F243-6AF2-772F004115B0}"/>
          </ac:spMkLst>
        </pc:spChg>
        <pc:grpChg chg="add del mod">
          <ac:chgData name="Caio Oriente Pereira" userId="cf0d9a0a-e124-4c03-aa21-7658adfbd4b5" providerId="ADAL" clId="{75441B16-FE08-4556-BAC4-BFB7AB5FC131}" dt="2023-10-04T14:33:19.709" v="2591" actId="165"/>
          <ac:grpSpMkLst>
            <pc:docMk/>
            <pc:sldMk cId="3990835118" sldId="2406"/>
            <ac:grpSpMk id="7" creationId="{05A5061C-872F-E949-2D31-CFE4F184B75C}"/>
          </ac:grpSpMkLst>
        </pc:grpChg>
        <pc:grpChg chg="add mod">
          <ac:chgData name="Caio Oriente Pereira" userId="cf0d9a0a-e124-4c03-aa21-7658adfbd4b5" providerId="ADAL" clId="{75441B16-FE08-4556-BAC4-BFB7AB5FC131}" dt="2023-10-04T15:07:06.623" v="2924" actId="1076"/>
          <ac:grpSpMkLst>
            <pc:docMk/>
            <pc:sldMk cId="3990835118" sldId="2406"/>
            <ac:grpSpMk id="10" creationId="{4C80106F-0933-9AA7-C53A-67F91FBA03F7}"/>
          </ac:grpSpMkLst>
        </pc:grpChg>
        <pc:picChg chg="add mod">
          <ac:chgData name="Caio Oriente Pereira" userId="cf0d9a0a-e124-4c03-aa21-7658adfbd4b5" providerId="ADAL" clId="{75441B16-FE08-4556-BAC4-BFB7AB5FC131}" dt="2023-10-04T15:09:05.174" v="2946" actId="1076"/>
          <ac:picMkLst>
            <pc:docMk/>
            <pc:sldMk cId="3990835118" sldId="2406"/>
            <ac:picMk id="2" creationId="{90866F96-9A00-F3D1-1C4B-E5BA140056FE}"/>
          </ac:picMkLst>
        </pc:picChg>
        <pc:picChg chg="add mod">
          <ac:chgData name="Caio Oriente Pereira" userId="cf0d9a0a-e124-4c03-aa21-7658adfbd4b5" providerId="ADAL" clId="{75441B16-FE08-4556-BAC4-BFB7AB5FC131}" dt="2023-10-04T15:09:16.136" v="2952" actId="1037"/>
          <ac:picMkLst>
            <pc:docMk/>
            <pc:sldMk cId="3990835118" sldId="2406"/>
            <ac:picMk id="4" creationId="{F9D7F7DE-4B60-E713-59B6-A5942D86EAD8}"/>
          </ac:picMkLst>
        </pc:picChg>
      </pc:sldChg>
      <pc:sldChg chg="delSp modSp add del mod">
        <pc:chgData name="Caio Oriente Pereira" userId="cf0d9a0a-e124-4c03-aa21-7658adfbd4b5" providerId="ADAL" clId="{75441B16-FE08-4556-BAC4-BFB7AB5FC131}" dt="2023-09-29T14:45:04.246" v="1208" actId="47"/>
        <pc:sldMkLst>
          <pc:docMk/>
          <pc:sldMk cId="1370729951" sldId="2407"/>
        </pc:sldMkLst>
        <pc:spChg chg="del">
          <ac:chgData name="Caio Oriente Pereira" userId="cf0d9a0a-e124-4c03-aa21-7658adfbd4b5" providerId="ADAL" clId="{75441B16-FE08-4556-BAC4-BFB7AB5FC131}" dt="2023-09-29T11:55:45.988" v="232" actId="478"/>
          <ac:spMkLst>
            <pc:docMk/>
            <pc:sldMk cId="1370729951" sldId="2407"/>
            <ac:spMk id="2" creationId="{6EB0A898-7FAB-4C4C-8E69-F2587D074174}"/>
          </ac:spMkLst>
        </pc:spChg>
        <pc:spChg chg="mod">
          <ac:chgData name="Caio Oriente Pereira" userId="cf0d9a0a-e124-4c03-aa21-7658adfbd4b5" providerId="ADAL" clId="{75441B16-FE08-4556-BAC4-BFB7AB5FC131}" dt="2023-09-28T19:50:20.905" v="219" actId="20577"/>
          <ac:spMkLst>
            <pc:docMk/>
            <pc:sldMk cId="1370729951" sldId="2407"/>
            <ac:spMk id="3" creationId="{305507F4-E351-B93B-BD52-A2DD35DA6C97}"/>
          </ac:spMkLst>
        </pc:spChg>
      </pc:sldChg>
      <pc:sldChg chg="modSp add mod modNotesTx">
        <pc:chgData name="Caio Oriente Pereira" userId="cf0d9a0a-e124-4c03-aa21-7658adfbd4b5" providerId="ADAL" clId="{75441B16-FE08-4556-BAC4-BFB7AB5FC131}" dt="2023-10-03T19:46:19.220" v="1445" actId="6549"/>
        <pc:sldMkLst>
          <pc:docMk/>
          <pc:sldMk cId="2215345650" sldId="2408"/>
        </pc:sldMkLst>
        <pc:spChg chg="mod">
          <ac:chgData name="Caio Oriente Pereira" userId="cf0d9a0a-e124-4c03-aa21-7658adfbd4b5" providerId="ADAL" clId="{75441B16-FE08-4556-BAC4-BFB7AB5FC131}" dt="2023-09-29T12:58:45.955" v="963" actId="207"/>
          <ac:spMkLst>
            <pc:docMk/>
            <pc:sldMk cId="2215345650" sldId="2408"/>
            <ac:spMk id="6" creationId="{9A9B7F35-4120-B8A1-9CED-DC9D5BE43BF0}"/>
          </ac:spMkLst>
        </pc:spChg>
      </pc:sldChg>
      <pc:sldChg chg="addSp delSp modSp add mod">
        <pc:chgData name="Caio Oriente Pereira" userId="cf0d9a0a-e124-4c03-aa21-7658adfbd4b5" providerId="ADAL" clId="{75441B16-FE08-4556-BAC4-BFB7AB5FC131}" dt="2023-09-29T14:44:45.203" v="1207" actId="1076"/>
        <pc:sldMkLst>
          <pc:docMk/>
          <pc:sldMk cId="2803376041" sldId="2409"/>
        </pc:sldMkLst>
        <pc:spChg chg="add mod">
          <ac:chgData name="Caio Oriente Pereira" userId="cf0d9a0a-e124-4c03-aa21-7658adfbd4b5" providerId="ADAL" clId="{75441B16-FE08-4556-BAC4-BFB7AB5FC131}" dt="2023-09-29T14:44:21.740" v="1204" actId="14100"/>
          <ac:spMkLst>
            <pc:docMk/>
            <pc:sldMk cId="2803376041" sldId="2409"/>
            <ac:spMk id="2" creationId="{6670951A-6872-B3CE-A707-E3F6FAAEE0E1}"/>
          </ac:spMkLst>
        </pc:spChg>
        <pc:spChg chg="add mod">
          <ac:chgData name="Caio Oriente Pereira" userId="cf0d9a0a-e124-4c03-aa21-7658adfbd4b5" providerId="ADAL" clId="{75441B16-FE08-4556-BAC4-BFB7AB5FC131}" dt="2023-09-29T14:44:15.972" v="1202" actId="14100"/>
          <ac:spMkLst>
            <pc:docMk/>
            <pc:sldMk cId="2803376041" sldId="2409"/>
            <ac:spMk id="7" creationId="{AE04B691-430B-B63E-EA87-9169CBD12E7D}"/>
          </ac:spMkLst>
        </pc:spChg>
        <pc:spChg chg="add mod">
          <ac:chgData name="Caio Oriente Pereira" userId="cf0d9a0a-e124-4c03-aa21-7658adfbd4b5" providerId="ADAL" clId="{75441B16-FE08-4556-BAC4-BFB7AB5FC131}" dt="2023-09-29T14:44:34.412" v="1205" actId="1076"/>
          <ac:spMkLst>
            <pc:docMk/>
            <pc:sldMk cId="2803376041" sldId="2409"/>
            <ac:spMk id="16" creationId="{556CE424-7CB5-3A63-10B3-A93D4B1D25CC}"/>
          </ac:spMkLst>
        </pc:spChg>
        <pc:spChg chg="add mod">
          <ac:chgData name="Caio Oriente Pereira" userId="cf0d9a0a-e124-4c03-aa21-7658adfbd4b5" providerId="ADAL" clId="{75441B16-FE08-4556-BAC4-BFB7AB5FC131}" dt="2023-09-29T14:44:45.203" v="1207" actId="1076"/>
          <ac:spMkLst>
            <pc:docMk/>
            <pc:sldMk cId="2803376041" sldId="2409"/>
            <ac:spMk id="17" creationId="{90CA6E15-36B3-06E2-F2F7-65E17E0CE688}"/>
          </ac:spMkLst>
        </pc:spChg>
        <pc:spChg chg="add del mod">
          <ac:chgData name="Caio Oriente Pereira" userId="cf0d9a0a-e124-4c03-aa21-7658adfbd4b5" providerId="ADAL" clId="{75441B16-FE08-4556-BAC4-BFB7AB5FC131}" dt="2023-09-29T14:44:36.479" v="1206" actId="478"/>
          <ac:spMkLst>
            <pc:docMk/>
            <pc:sldMk cId="2803376041" sldId="2409"/>
            <ac:spMk id="18" creationId="{CCD8BD85-E104-3F39-2B96-F4A452E8ABBB}"/>
          </ac:spMkLst>
        </pc:spChg>
        <pc:picChg chg="add mod">
          <ac:chgData name="Caio Oriente Pereira" userId="cf0d9a0a-e124-4c03-aa21-7658adfbd4b5" providerId="ADAL" clId="{75441B16-FE08-4556-BAC4-BFB7AB5FC131}" dt="2023-09-29T14:44:19.020" v="1203" actId="1076"/>
          <ac:picMkLst>
            <pc:docMk/>
            <pc:sldMk cId="2803376041" sldId="2409"/>
            <ac:picMk id="19" creationId="{DE15E447-3676-7FBB-AC9A-D22588672835}"/>
          </ac:picMkLst>
        </pc:picChg>
      </pc:sldChg>
      <pc:sldChg chg="add del">
        <pc:chgData name="Caio Oriente Pereira" userId="cf0d9a0a-e124-4c03-aa21-7658adfbd4b5" providerId="ADAL" clId="{75441B16-FE08-4556-BAC4-BFB7AB5FC131}" dt="2023-09-29T12:25:05.219" v="481" actId="47"/>
        <pc:sldMkLst>
          <pc:docMk/>
          <pc:sldMk cId="2851370775" sldId="2409"/>
        </pc:sldMkLst>
      </pc:sldChg>
      <pc:sldChg chg="modSp mod">
        <pc:chgData name="Caio Oriente Pereira" userId="cf0d9a0a-e124-4c03-aa21-7658adfbd4b5" providerId="ADAL" clId="{75441B16-FE08-4556-BAC4-BFB7AB5FC131}" dt="2023-10-05T18:23:25.259" v="3418" actId="20577"/>
        <pc:sldMkLst>
          <pc:docMk/>
          <pc:sldMk cId="4239650200" sldId="2410"/>
        </pc:sldMkLst>
        <pc:spChg chg="mod">
          <ac:chgData name="Caio Oriente Pereira" userId="cf0d9a0a-e124-4c03-aa21-7658adfbd4b5" providerId="ADAL" clId="{75441B16-FE08-4556-BAC4-BFB7AB5FC131}" dt="2023-10-05T18:23:25.259" v="3418" actId="20577"/>
          <ac:spMkLst>
            <pc:docMk/>
            <pc:sldMk cId="4239650200" sldId="2410"/>
            <ac:spMk id="2" creationId="{6B66F335-8E69-C31F-24CA-A21A4D57FEEA}"/>
          </ac:spMkLst>
        </pc:spChg>
        <pc:spChg chg="mod">
          <ac:chgData name="Caio Oriente Pereira" userId="cf0d9a0a-e124-4c03-aa21-7658adfbd4b5" providerId="ADAL" clId="{75441B16-FE08-4556-BAC4-BFB7AB5FC131}" dt="2023-10-03T20:59:26.768" v="1717" actId="20577"/>
          <ac:spMkLst>
            <pc:docMk/>
            <pc:sldMk cId="4239650200" sldId="2410"/>
            <ac:spMk id="3" creationId="{305507F4-E351-B93B-BD52-A2DD35DA6C97}"/>
          </ac:spMkLst>
        </pc:spChg>
        <pc:spChg chg="mod">
          <ac:chgData name="Caio Oriente Pereira" userId="cf0d9a0a-e124-4c03-aa21-7658adfbd4b5" providerId="ADAL" clId="{75441B16-FE08-4556-BAC4-BFB7AB5FC131}" dt="2023-10-05T18:22:59.726" v="3412" actId="1035"/>
          <ac:spMkLst>
            <pc:docMk/>
            <pc:sldMk cId="4239650200" sldId="2410"/>
            <ac:spMk id="4" creationId="{1631DE32-6BF4-8E5B-53FF-C5B626FC321E}"/>
          </ac:spMkLst>
        </pc:spChg>
        <pc:spChg chg="mod">
          <ac:chgData name="Caio Oriente Pereira" userId="cf0d9a0a-e124-4c03-aa21-7658adfbd4b5" providerId="ADAL" clId="{75441B16-FE08-4556-BAC4-BFB7AB5FC131}" dt="2023-10-05T18:22:59.726" v="3412" actId="1035"/>
          <ac:spMkLst>
            <pc:docMk/>
            <pc:sldMk cId="4239650200" sldId="2410"/>
            <ac:spMk id="5" creationId="{EA335E5F-7079-A449-2830-8016564DC12C}"/>
          </ac:spMkLst>
        </pc:spChg>
        <pc:spChg chg="mod">
          <ac:chgData name="Caio Oriente Pereira" userId="cf0d9a0a-e124-4c03-aa21-7658adfbd4b5" providerId="ADAL" clId="{75441B16-FE08-4556-BAC4-BFB7AB5FC131}" dt="2023-10-05T18:22:59.726" v="3412" actId="1035"/>
          <ac:spMkLst>
            <pc:docMk/>
            <pc:sldMk cId="4239650200" sldId="2410"/>
            <ac:spMk id="6" creationId="{F1DC6619-3758-1348-4BCD-1D5A0DA16FEA}"/>
          </ac:spMkLst>
        </pc:spChg>
        <pc:spChg chg="mod">
          <ac:chgData name="Caio Oriente Pereira" userId="cf0d9a0a-e124-4c03-aa21-7658adfbd4b5" providerId="ADAL" clId="{75441B16-FE08-4556-BAC4-BFB7AB5FC131}" dt="2023-10-05T18:22:59.726" v="3412" actId="1035"/>
          <ac:spMkLst>
            <pc:docMk/>
            <pc:sldMk cId="4239650200" sldId="2410"/>
            <ac:spMk id="7" creationId="{859EE721-04D0-8159-55CE-2B6251BB1EEC}"/>
          </ac:spMkLst>
        </pc:spChg>
        <pc:spChg chg="mod">
          <ac:chgData name="Caio Oriente Pereira" userId="cf0d9a0a-e124-4c03-aa21-7658adfbd4b5" providerId="ADAL" clId="{75441B16-FE08-4556-BAC4-BFB7AB5FC131}" dt="2023-10-05T18:22:59.726" v="3412" actId="1035"/>
          <ac:spMkLst>
            <pc:docMk/>
            <pc:sldMk cId="4239650200" sldId="2410"/>
            <ac:spMk id="8" creationId="{2180A9C3-C5A3-70E6-981A-A0632EFA7DE9}"/>
          </ac:spMkLst>
        </pc:spChg>
        <pc:spChg chg="mod">
          <ac:chgData name="Caio Oriente Pereira" userId="cf0d9a0a-e124-4c03-aa21-7658adfbd4b5" providerId="ADAL" clId="{75441B16-FE08-4556-BAC4-BFB7AB5FC131}" dt="2023-10-05T18:22:59.726" v="3412" actId="1035"/>
          <ac:spMkLst>
            <pc:docMk/>
            <pc:sldMk cId="4239650200" sldId="2410"/>
            <ac:spMk id="9" creationId="{47FE7746-9A49-77B5-C72F-B94C59F50378}"/>
          </ac:spMkLst>
        </pc:spChg>
        <pc:spChg chg="mod">
          <ac:chgData name="Caio Oriente Pereira" userId="cf0d9a0a-e124-4c03-aa21-7658adfbd4b5" providerId="ADAL" clId="{75441B16-FE08-4556-BAC4-BFB7AB5FC131}" dt="2023-10-05T18:22:59.726" v="3412" actId="1035"/>
          <ac:spMkLst>
            <pc:docMk/>
            <pc:sldMk cId="4239650200" sldId="2410"/>
            <ac:spMk id="33" creationId="{406F201E-AB2E-8DA2-78B7-4889DF3A7B72}"/>
          </ac:spMkLst>
        </pc:spChg>
        <pc:picChg chg="mod">
          <ac:chgData name="Caio Oriente Pereira" userId="cf0d9a0a-e124-4c03-aa21-7658adfbd4b5" providerId="ADAL" clId="{75441B16-FE08-4556-BAC4-BFB7AB5FC131}" dt="2023-10-05T18:22:59.726" v="3412" actId="1035"/>
          <ac:picMkLst>
            <pc:docMk/>
            <pc:sldMk cId="4239650200" sldId="2410"/>
            <ac:picMk id="32" creationId="{7910634F-AE17-01BB-F359-690680E9468D}"/>
          </ac:picMkLst>
        </pc:picChg>
      </pc:sldChg>
      <pc:sldChg chg="modSp mod">
        <pc:chgData name="Caio Oriente Pereira" userId="cf0d9a0a-e124-4c03-aa21-7658adfbd4b5" providerId="ADAL" clId="{75441B16-FE08-4556-BAC4-BFB7AB5FC131}" dt="2023-10-05T18:24:36.867" v="3458" actId="20577"/>
        <pc:sldMkLst>
          <pc:docMk/>
          <pc:sldMk cId="417396938" sldId="2411"/>
        </pc:sldMkLst>
        <pc:spChg chg="mod">
          <ac:chgData name="Caio Oriente Pereira" userId="cf0d9a0a-e124-4c03-aa21-7658adfbd4b5" providerId="ADAL" clId="{75441B16-FE08-4556-BAC4-BFB7AB5FC131}" dt="2023-10-05T18:24:10.848" v="3435" actId="1035"/>
          <ac:spMkLst>
            <pc:docMk/>
            <pc:sldMk cId="417396938" sldId="2411"/>
            <ac:spMk id="2" creationId="{6B66F335-8E69-C31F-24CA-A21A4D57FEEA}"/>
          </ac:spMkLst>
        </pc:spChg>
        <pc:spChg chg="mod">
          <ac:chgData name="Caio Oriente Pereira" userId="cf0d9a0a-e124-4c03-aa21-7658adfbd4b5" providerId="ADAL" clId="{75441B16-FE08-4556-BAC4-BFB7AB5FC131}" dt="2023-10-03T21:04:38.853" v="1836" actId="20577"/>
          <ac:spMkLst>
            <pc:docMk/>
            <pc:sldMk cId="417396938" sldId="2411"/>
            <ac:spMk id="3" creationId="{305507F4-E351-B93B-BD52-A2DD35DA6C97}"/>
          </ac:spMkLst>
        </pc:spChg>
        <pc:spChg chg="mod">
          <ac:chgData name="Caio Oriente Pereira" userId="cf0d9a0a-e124-4c03-aa21-7658adfbd4b5" providerId="ADAL" clId="{75441B16-FE08-4556-BAC4-BFB7AB5FC131}" dt="2023-10-05T18:24:36.867" v="3458" actId="20577"/>
          <ac:spMkLst>
            <pc:docMk/>
            <pc:sldMk cId="417396938" sldId="2411"/>
            <ac:spMk id="15" creationId="{D4DDAF96-F9A1-C3AA-A474-8C60198FB968}"/>
          </ac:spMkLst>
        </pc:spChg>
        <pc:picChg chg="mod">
          <ac:chgData name="Caio Oriente Pereira" userId="cf0d9a0a-e124-4c03-aa21-7658adfbd4b5" providerId="ADAL" clId="{75441B16-FE08-4556-BAC4-BFB7AB5FC131}" dt="2023-10-04T13:43:03.227" v="2247" actId="1035"/>
          <ac:picMkLst>
            <pc:docMk/>
            <pc:sldMk cId="417396938" sldId="2411"/>
            <ac:picMk id="23" creationId="{8E2A8B12-C7D8-92BA-58B3-012A57A097E0}"/>
          </ac:picMkLst>
        </pc:picChg>
      </pc:sldChg>
      <pc:sldChg chg="addSp delSp modSp del mod">
        <pc:chgData name="Caio Oriente Pereira" userId="cf0d9a0a-e124-4c03-aa21-7658adfbd4b5" providerId="ADAL" clId="{75441B16-FE08-4556-BAC4-BFB7AB5FC131}" dt="2023-10-03T20:53:53.984" v="1658" actId="47"/>
        <pc:sldMkLst>
          <pc:docMk/>
          <pc:sldMk cId="4091770084" sldId="2412"/>
        </pc:sldMkLst>
        <pc:spChg chg="mod">
          <ac:chgData name="Caio Oriente Pereira" userId="cf0d9a0a-e124-4c03-aa21-7658adfbd4b5" providerId="ADAL" clId="{75441B16-FE08-4556-BAC4-BFB7AB5FC131}" dt="2023-10-03T20:53:14.567" v="1638" actId="164"/>
          <ac:spMkLst>
            <pc:docMk/>
            <pc:sldMk cId="4091770084" sldId="2412"/>
            <ac:spMk id="4" creationId="{11337EF0-46CA-08F3-E62A-60C10CE4B071}"/>
          </ac:spMkLst>
        </pc:spChg>
        <pc:spChg chg="add del mod">
          <ac:chgData name="Caio Oriente Pereira" userId="cf0d9a0a-e124-4c03-aa21-7658adfbd4b5" providerId="ADAL" clId="{75441B16-FE08-4556-BAC4-BFB7AB5FC131}" dt="2023-10-03T20:52:41.917" v="1633" actId="164"/>
          <ac:spMkLst>
            <pc:docMk/>
            <pc:sldMk cId="4091770084" sldId="2412"/>
            <ac:spMk id="7" creationId="{090D6D05-C0F8-2F56-EDAC-3290F1E9B5FE}"/>
          </ac:spMkLst>
        </pc:spChg>
        <pc:spChg chg="add del mod">
          <ac:chgData name="Caio Oriente Pereira" userId="cf0d9a0a-e124-4c03-aa21-7658adfbd4b5" providerId="ADAL" clId="{75441B16-FE08-4556-BAC4-BFB7AB5FC131}" dt="2023-10-03T20:52:41.917" v="1633" actId="164"/>
          <ac:spMkLst>
            <pc:docMk/>
            <pc:sldMk cId="4091770084" sldId="2412"/>
            <ac:spMk id="8" creationId="{150B3B5C-0341-BD8D-9009-AD51F71A065C}"/>
          </ac:spMkLst>
        </pc:spChg>
        <pc:spChg chg="add del mod">
          <ac:chgData name="Caio Oriente Pereira" userId="cf0d9a0a-e124-4c03-aa21-7658adfbd4b5" providerId="ADAL" clId="{75441B16-FE08-4556-BAC4-BFB7AB5FC131}" dt="2023-10-03T20:52:41.917" v="1633" actId="164"/>
          <ac:spMkLst>
            <pc:docMk/>
            <pc:sldMk cId="4091770084" sldId="2412"/>
            <ac:spMk id="9" creationId="{EAE623E8-278E-A062-BA37-DC0157C834E4}"/>
          </ac:spMkLst>
        </pc:spChg>
        <pc:spChg chg="add del mod">
          <ac:chgData name="Caio Oriente Pereira" userId="cf0d9a0a-e124-4c03-aa21-7658adfbd4b5" providerId="ADAL" clId="{75441B16-FE08-4556-BAC4-BFB7AB5FC131}" dt="2023-10-03T20:52:41.917" v="1633" actId="164"/>
          <ac:spMkLst>
            <pc:docMk/>
            <pc:sldMk cId="4091770084" sldId="2412"/>
            <ac:spMk id="13" creationId="{4820E3C4-6F64-5A08-5763-C07AED3B5C98}"/>
          </ac:spMkLst>
        </pc:spChg>
        <pc:spChg chg="add del mod">
          <ac:chgData name="Caio Oriente Pereira" userId="cf0d9a0a-e124-4c03-aa21-7658adfbd4b5" providerId="ADAL" clId="{75441B16-FE08-4556-BAC4-BFB7AB5FC131}" dt="2023-10-03T20:52:41.917" v="1633" actId="164"/>
          <ac:spMkLst>
            <pc:docMk/>
            <pc:sldMk cId="4091770084" sldId="2412"/>
            <ac:spMk id="16" creationId="{7AD77AB2-BA56-6955-392D-C2C4A786E1F8}"/>
          </ac:spMkLst>
        </pc:spChg>
        <pc:spChg chg="add del mod">
          <ac:chgData name="Caio Oriente Pereira" userId="cf0d9a0a-e124-4c03-aa21-7658adfbd4b5" providerId="ADAL" clId="{75441B16-FE08-4556-BAC4-BFB7AB5FC131}" dt="2023-10-03T20:52:41.917" v="1633" actId="164"/>
          <ac:spMkLst>
            <pc:docMk/>
            <pc:sldMk cId="4091770084" sldId="2412"/>
            <ac:spMk id="17" creationId="{D7E6AA7B-E69B-9557-D736-9BCA2CF4527A}"/>
          </ac:spMkLst>
        </pc:spChg>
        <pc:grpChg chg="add mod">
          <ac:chgData name="Caio Oriente Pereira" userId="cf0d9a0a-e124-4c03-aa21-7658adfbd4b5" providerId="ADAL" clId="{75441B16-FE08-4556-BAC4-BFB7AB5FC131}" dt="2023-10-03T20:52:30.770" v="1632" actId="164"/>
          <ac:grpSpMkLst>
            <pc:docMk/>
            <pc:sldMk cId="4091770084" sldId="2412"/>
            <ac:grpSpMk id="5" creationId="{48AB1356-EA5D-8438-FC5D-FEB5A5EE1E11}"/>
          </ac:grpSpMkLst>
        </pc:grpChg>
        <pc:grpChg chg="add mod">
          <ac:chgData name="Caio Oriente Pereira" userId="cf0d9a0a-e124-4c03-aa21-7658adfbd4b5" providerId="ADAL" clId="{75441B16-FE08-4556-BAC4-BFB7AB5FC131}" dt="2023-10-03T20:53:14.567" v="1638" actId="164"/>
          <ac:grpSpMkLst>
            <pc:docMk/>
            <pc:sldMk cId="4091770084" sldId="2412"/>
            <ac:grpSpMk id="6" creationId="{4C373C06-B6A6-D758-7355-449F95476CAE}"/>
          </ac:grpSpMkLst>
        </pc:grpChg>
        <pc:grpChg chg="add mod">
          <ac:chgData name="Caio Oriente Pereira" userId="cf0d9a0a-e124-4c03-aa21-7658adfbd4b5" providerId="ADAL" clId="{75441B16-FE08-4556-BAC4-BFB7AB5FC131}" dt="2023-10-03T20:53:14.567" v="1638" actId="164"/>
          <ac:grpSpMkLst>
            <pc:docMk/>
            <pc:sldMk cId="4091770084" sldId="2412"/>
            <ac:grpSpMk id="18" creationId="{71B81173-7C9A-A11B-EDB7-6DF15315BC23}"/>
          </ac:grpSpMkLst>
        </pc:grpChg>
        <pc:picChg chg="add del mod">
          <ac:chgData name="Caio Oriente Pereira" userId="cf0d9a0a-e124-4c03-aa21-7658adfbd4b5" providerId="ADAL" clId="{75441B16-FE08-4556-BAC4-BFB7AB5FC131}" dt="2023-10-03T20:52:30.770" v="1632" actId="164"/>
          <ac:picMkLst>
            <pc:docMk/>
            <pc:sldMk cId="4091770084" sldId="2412"/>
            <ac:picMk id="23" creationId="{8E2A8B12-C7D8-92BA-58B3-012A57A097E0}"/>
          </ac:picMkLst>
        </pc:picChg>
      </pc:sldChg>
      <pc:sldChg chg="modSp del mod">
        <pc:chgData name="Caio Oriente Pereira" userId="cf0d9a0a-e124-4c03-aa21-7658adfbd4b5" providerId="ADAL" clId="{75441B16-FE08-4556-BAC4-BFB7AB5FC131}" dt="2023-10-03T21:03:49.350" v="1820" actId="47"/>
        <pc:sldMkLst>
          <pc:docMk/>
          <pc:sldMk cId="2005211359" sldId="2413"/>
        </pc:sldMkLst>
        <pc:spChg chg="mod">
          <ac:chgData name="Caio Oriente Pereira" userId="cf0d9a0a-e124-4c03-aa21-7658adfbd4b5" providerId="ADAL" clId="{75441B16-FE08-4556-BAC4-BFB7AB5FC131}" dt="2023-10-03T21:03:21.062" v="1810" actId="20577"/>
          <ac:spMkLst>
            <pc:docMk/>
            <pc:sldMk cId="2005211359" sldId="2413"/>
            <ac:spMk id="3" creationId="{305507F4-E351-B93B-BD52-A2DD35DA6C97}"/>
          </ac:spMkLst>
        </pc:spChg>
      </pc:sldChg>
      <pc:sldChg chg="addSp delSp modSp mod">
        <pc:chgData name="Caio Oriente Pereira" userId="cf0d9a0a-e124-4c03-aa21-7658adfbd4b5" providerId="ADAL" clId="{75441B16-FE08-4556-BAC4-BFB7AB5FC131}" dt="2023-10-04T15:38:16.041" v="3357" actId="1076"/>
        <pc:sldMkLst>
          <pc:docMk/>
          <pc:sldMk cId="3607344551" sldId="2414"/>
        </pc:sldMkLst>
        <pc:spChg chg="mod">
          <ac:chgData name="Caio Oriente Pereira" userId="cf0d9a0a-e124-4c03-aa21-7658adfbd4b5" providerId="ADAL" clId="{75441B16-FE08-4556-BAC4-BFB7AB5FC131}" dt="2023-10-04T13:49:16.406" v="2307" actId="120"/>
          <ac:spMkLst>
            <pc:docMk/>
            <pc:sldMk cId="3607344551" sldId="2414"/>
            <ac:spMk id="2" creationId="{6B66F335-8E69-C31F-24CA-A21A4D57FEEA}"/>
          </ac:spMkLst>
        </pc:spChg>
        <pc:spChg chg="mod">
          <ac:chgData name="Caio Oriente Pereira" userId="cf0d9a0a-e124-4c03-aa21-7658adfbd4b5" providerId="ADAL" clId="{75441B16-FE08-4556-BAC4-BFB7AB5FC131}" dt="2023-10-04T15:38:16.041" v="3357" actId="1076"/>
          <ac:spMkLst>
            <pc:docMk/>
            <pc:sldMk cId="3607344551" sldId="2414"/>
            <ac:spMk id="3" creationId="{305507F4-E351-B93B-BD52-A2DD35DA6C97}"/>
          </ac:spMkLst>
        </pc:spChg>
        <pc:spChg chg="add del mod">
          <ac:chgData name="Caio Oriente Pereira" userId="cf0d9a0a-e124-4c03-aa21-7658adfbd4b5" providerId="ADAL" clId="{75441B16-FE08-4556-BAC4-BFB7AB5FC131}" dt="2023-10-04T13:46:55.835" v="2270"/>
          <ac:spMkLst>
            <pc:docMk/>
            <pc:sldMk cId="3607344551" sldId="2414"/>
            <ac:spMk id="4" creationId="{A432C3F6-C528-D23A-20F5-7DEDAF5EBA4C}"/>
          </ac:spMkLst>
        </pc:spChg>
        <pc:spChg chg="mod">
          <ac:chgData name="Caio Oriente Pereira" userId="cf0d9a0a-e124-4c03-aa21-7658adfbd4b5" providerId="ADAL" clId="{75441B16-FE08-4556-BAC4-BFB7AB5FC131}" dt="2023-10-04T13:58:08.295" v="2326" actId="12788"/>
          <ac:spMkLst>
            <pc:docMk/>
            <pc:sldMk cId="3607344551" sldId="2414"/>
            <ac:spMk id="37" creationId="{08D70C40-2FD9-9E8C-78EE-DFFB1D31A6F9}"/>
          </ac:spMkLst>
        </pc:spChg>
        <pc:spChg chg="mod">
          <ac:chgData name="Caio Oriente Pereira" userId="cf0d9a0a-e124-4c03-aa21-7658adfbd4b5" providerId="ADAL" clId="{75441B16-FE08-4556-BAC4-BFB7AB5FC131}" dt="2023-10-04T13:58:08.295" v="2326" actId="12788"/>
          <ac:spMkLst>
            <pc:docMk/>
            <pc:sldMk cId="3607344551" sldId="2414"/>
            <ac:spMk id="38" creationId="{BC728816-EFA9-943A-4EDB-8FE16801D4A2}"/>
          </ac:spMkLst>
        </pc:spChg>
        <pc:spChg chg="mod">
          <ac:chgData name="Caio Oriente Pereira" userId="cf0d9a0a-e124-4c03-aa21-7658adfbd4b5" providerId="ADAL" clId="{75441B16-FE08-4556-BAC4-BFB7AB5FC131}" dt="2023-10-04T13:58:08.295" v="2326" actId="12788"/>
          <ac:spMkLst>
            <pc:docMk/>
            <pc:sldMk cId="3607344551" sldId="2414"/>
            <ac:spMk id="39" creationId="{221FCC9C-A558-D55F-26C3-A9C5BFC4B1DB}"/>
          </ac:spMkLst>
        </pc:spChg>
        <pc:spChg chg="mod">
          <ac:chgData name="Caio Oriente Pereira" userId="cf0d9a0a-e124-4c03-aa21-7658adfbd4b5" providerId="ADAL" clId="{75441B16-FE08-4556-BAC4-BFB7AB5FC131}" dt="2023-10-04T13:58:08.295" v="2326" actId="12788"/>
          <ac:spMkLst>
            <pc:docMk/>
            <pc:sldMk cId="3607344551" sldId="2414"/>
            <ac:spMk id="40" creationId="{BF64C4FA-ACF8-AFF1-EEFA-13C52746A7FD}"/>
          </ac:spMkLst>
        </pc:spChg>
      </pc:sldChg>
      <pc:sldChg chg="modSp mod">
        <pc:chgData name="Caio Oriente Pereira" userId="cf0d9a0a-e124-4c03-aa21-7658adfbd4b5" providerId="ADAL" clId="{75441B16-FE08-4556-BAC4-BFB7AB5FC131}" dt="2023-10-04T13:44:27.882" v="2265" actId="14100"/>
        <pc:sldMkLst>
          <pc:docMk/>
          <pc:sldMk cId="1308768919" sldId="2415"/>
        </pc:sldMkLst>
        <pc:spChg chg="mod">
          <ac:chgData name="Caio Oriente Pereira" userId="cf0d9a0a-e124-4c03-aa21-7658adfbd4b5" providerId="ADAL" clId="{75441B16-FE08-4556-BAC4-BFB7AB5FC131}" dt="2023-10-03T21:04:46.323" v="1842" actId="6549"/>
          <ac:spMkLst>
            <pc:docMk/>
            <pc:sldMk cId="1308768919" sldId="2415"/>
            <ac:spMk id="3" creationId="{305507F4-E351-B93B-BD52-A2DD35DA6C97}"/>
          </ac:spMkLst>
        </pc:spChg>
        <pc:spChg chg="mod">
          <ac:chgData name="Caio Oriente Pereira" userId="cf0d9a0a-e124-4c03-aa21-7658adfbd4b5" providerId="ADAL" clId="{75441B16-FE08-4556-BAC4-BFB7AB5FC131}" dt="2023-10-04T13:44:27.882" v="2265" actId="14100"/>
          <ac:spMkLst>
            <pc:docMk/>
            <pc:sldMk cId="1308768919" sldId="2415"/>
            <ac:spMk id="38" creationId="{AF9D27F3-E666-FFE8-1518-769CB515B461}"/>
          </ac:spMkLst>
        </pc:spChg>
      </pc:sldChg>
      <pc:sldChg chg="addSp delSp modSp mod">
        <pc:chgData name="Caio Oriente Pereira" userId="cf0d9a0a-e124-4c03-aa21-7658adfbd4b5" providerId="ADAL" clId="{75441B16-FE08-4556-BAC4-BFB7AB5FC131}" dt="2023-10-04T13:45:12.363" v="2267" actId="20577"/>
        <pc:sldMkLst>
          <pc:docMk/>
          <pc:sldMk cId="317178407" sldId="2416"/>
        </pc:sldMkLst>
        <pc:spChg chg="mod">
          <ac:chgData name="Caio Oriente Pereira" userId="cf0d9a0a-e124-4c03-aa21-7658adfbd4b5" providerId="ADAL" clId="{75441B16-FE08-4556-BAC4-BFB7AB5FC131}" dt="2023-10-03T21:04:50.062" v="1844" actId="6549"/>
          <ac:spMkLst>
            <pc:docMk/>
            <pc:sldMk cId="317178407" sldId="2416"/>
            <ac:spMk id="3" creationId="{305507F4-E351-B93B-BD52-A2DD35DA6C97}"/>
          </ac:spMkLst>
        </pc:spChg>
        <pc:spChg chg="mod">
          <ac:chgData name="Caio Oriente Pereira" userId="cf0d9a0a-e124-4c03-aa21-7658adfbd4b5" providerId="ADAL" clId="{75441B16-FE08-4556-BAC4-BFB7AB5FC131}" dt="2023-10-04T13:45:12.363" v="2267" actId="20577"/>
          <ac:spMkLst>
            <pc:docMk/>
            <pc:sldMk cId="317178407" sldId="2416"/>
            <ac:spMk id="15" creationId="{2B3D624D-2A60-DCC0-F355-92F53487AFC9}"/>
          </ac:spMkLst>
        </pc:spChg>
        <pc:spChg chg="add del mod">
          <ac:chgData name="Caio Oriente Pereira" userId="cf0d9a0a-e124-4c03-aa21-7658adfbd4b5" providerId="ADAL" clId="{75441B16-FE08-4556-BAC4-BFB7AB5FC131}" dt="2023-10-03T21:20:18.244" v="2167" actId="14100"/>
          <ac:spMkLst>
            <pc:docMk/>
            <pc:sldMk cId="317178407" sldId="2416"/>
            <ac:spMk id="43" creationId="{95950952-F9CD-622E-4E54-1BC2D452751C}"/>
          </ac:spMkLst>
        </pc:spChg>
        <pc:grpChg chg="del">
          <ac:chgData name="Caio Oriente Pereira" userId="cf0d9a0a-e124-4c03-aa21-7658adfbd4b5" providerId="ADAL" clId="{75441B16-FE08-4556-BAC4-BFB7AB5FC131}" dt="2023-10-03T21:20:26.612" v="2168" actId="478"/>
          <ac:grpSpMkLst>
            <pc:docMk/>
            <pc:sldMk cId="317178407" sldId="2416"/>
            <ac:grpSpMk id="10" creationId="{28E1993B-7E86-B0F3-033B-943A58DFB762}"/>
          </ac:grpSpMkLst>
        </pc:grpChg>
      </pc:sldChg>
      <pc:sldChg chg="modSp del mod">
        <pc:chgData name="Caio Oriente Pereira" userId="cf0d9a0a-e124-4c03-aa21-7658adfbd4b5" providerId="ADAL" clId="{75441B16-FE08-4556-BAC4-BFB7AB5FC131}" dt="2023-10-03T21:04:11.743" v="1832" actId="47"/>
        <pc:sldMkLst>
          <pc:docMk/>
          <pc:sldMk cId="632656175" sldId="2417"/>
        </pc:sldMkLst>
        <pc:spChg chg="mod">
          <ac:chgData name="Caio Oriente Pereira" userId="cf0d9a0a-e124-4c03-aa21-7658adfbd4b5" providerId="ADAL" clId="{75441B16-FE08-4556-BAC4-BFB7AB5FC131}" dt="2023-10-03T18:14:45.568" v="1376" actId="20577"/>
          <ac:spMkLst>
            <pc:docMk/>
            <pc:sldMk cId="632656175" sldId="2417"/>
            <ac:spMk id="6" creationId="{BAFE5D47-189A-675D-2A18-695720558139}"/>
          </ac:spMkLst>
        </pc:spChg>
      </pc:sldChg>
      <pc:sldChg chg="modSp del mod modTransition modShow">
        <pc:chgData name="Caio Oriente Pereira" userId="cf0d9a0a-e124-4c03-aa21-7658adfbd4b5" providerId="ADAL" clId="{75441B16-FE08-4556-BAC4-BFB7AB5FC131}" dt="2023-10-04T15:33:01.067" v="3017" actId="47"/>
        <pc:sldMkLst>
          <pc:docMk/>
          <pc:sldMk cId="2228960945" sldId="2146850133"/>
        </pc:sldMkLst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18" creationId="{6AE498C9-792A-79A6-9113-1F3619521761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20" creationId="{505F6576-D7AD-5F9A-7948-2502F74DF5F6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24" creationId="{A26B326C-0F57-31CC-3C15-36F57CB91AC7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25" creationId="{85088D92-F4BA-61ED-61D4-48DBDC59D587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26" creationId="{E648F8B1-643F-836B-3CCA-E40B8B22400A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27" creationId="{CD64330B-CDB4-8CBC-1EB9-ACE066014A7A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28" creationId="{D4FC2F7E-FC61-BACA-1866-1F2201F0B5E8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29" creationId="{220311C7-AA09-9B4C-6A69-F56DD14FF640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30" creationId="{D1599DA0-CF08-63CE-9970-9F1EDB5EB138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31" creationId="{07BB5A7E-4479-30EE-D801-AF60B080320D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32" creationId="{70B82384-6A0A-4843-1F7A-00675FD27384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33" creationId="{0ED48A06-8841-765C-3AAE-9A460A9A9349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34" creationId="{282111C2-7AC6-8179-07D2-C258500A0BE2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35" creationId="{1A86A813-2F62-C7CA-DF53-A12E9EF5899A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36" creationId="{B42C482A-398C-EC1D-7851-E355CEB5DA02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37" creationId="{6BAA39B4-AD9E-F6FC-3E45-C8AF15BA18D7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38" creationId="{128FA74C-0AFA-09D7-697A-89163193D13F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39" creationId="{A230439B-8BEB-AC88-8FD2-CEA1B47AAF72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40" creationId="{D028E901-1FA7-7DF3-4C94-B0E394F28396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41" creationId="{B06162F1-E27D-5109-9336-F938EDDB9B1F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42" creationId="{D3BE9523-F33C-63FF-7EBB-84CB099592F7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43" creationId="{43822256-9364-DDAE-6F6B-770BCCEF4F92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44" creationId="{7270FD6F-0DA5-76AB-4AD1-9E50D1D32B39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45" creationId="{32A9085B-0135-ED8F-D6E4-D3B428BB9AC7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46" creationId="{BF537243-CB2F-D748-5517-8AD9D59B7731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47" creationId="{C290412A-AF19-0ED8-720D-4D76410E0612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48" creationId="{821659C8-B1F1-7920-4E99-F589FA642A97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49" creationId="{E634A2A4-1098-5857-D282-4E4E3547BEF4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50" creationId="{DAEFCA57-A764-DB4D-D0E3-C3E02B1E810B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51" creationId="{C6C458CB-6067-0300-1F9E-FF689078CDD5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52" creationId="{56F8AB50-F7ED-75B4-1D1F-B906EE42178E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53" creationId="{C0311D44-F034-4CBE-9179-104F83EAA417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54" creationId="{7E2C2616-C124-401A-2043-3D8AE0DDB85B}"/>
          </ac:spMkLst>
        </pc:spChg>
        <pc:spChg chg="mod">
          <ac:chgData name="Caio Oriente Pereira" userId="cf0d9a0a-e124-4c03-aa21-7658adfbd4b5" providerId="ADAL" clId="{75441B16-FE08-4556-BAC4-BFB7AB5FC131}" dt="2023-10-03T18:55:49.439" v="1404" actId="1076"/>
          <ac:spMkLst>
            <pc:docMk/>
            <pc:sldMk cId="2228960945" sldId="2146850133"/>
            <ac:spMk id="55" creationId="{7CA6F7B0-49E2-8FAC-B7DF-1940B5E88528}"/>
          </ac:spMkLst>
        </pc:spChg>
        <pc:grpChg chg="mod">
          <ac:chgData name="Caio Oriente Pereira" userId="cf0d9a0a-e124-4c03-aa21-7658adfbd4b5" providerId="ADAL" clId="{75441B16-FE08-4556-BAC4-BFB7AB5FC131}" dt="2023-10-03T18:55:49.439" v="1404" actId="1076"/>
          <ac:grpSpMkLst>
            <pc:docMk/>
            <pc:sldMk cId="2228960945" sldId="2146850133"/>
            <ac:grpSpMk id="16" creationId="{2FD86CC9-6254-CCF3-FE34-CB265721DC9C}"/>
          </ac:grpSpMkLst>
        </pc:grpChg>
        <pc:grpChg chg="mod">
          <ac:chgData name="Caio Oriente Pereira" userId="cf0d9a0a-e124-4c03-aa21-7658adfbd4b5" providerId="ADAL" clId="{75441B16-FE08-4556-BAC4-BFB7AB5FC131}" dt="2023-10-03T18:55:49.439" v="1404" actId="1076"/>
          <ac:grpSpMkLst>
            <pc:docMk/>
            <pc:sldMk cId="2228960945" sldId="2146850133"/>
            <ac:grpSpMk id="17" creationId="{7C938148-C4FD-4302-23C4-AA2D3E71C8C3}"/>
          </ac:grpSpMkLst>
        </pc:grpChg>
      </pc:sldChg>
      <pc:sldChg chg="modSp add del mod">
        <pc:chgData name="Caio Oriente Pereira" userId="cf0d9a0a-e124-4c03-aa21-7658adfbd4b5" providerId="ADAL" clId="{75441B16-FE08-4556-BAC4-BFB7AB5FC131}" dt="2023-10-03T20:49:34.385" v="1588" actId="47"/>
        <pc:sldMkLst>
          <pc:docMk/>
          <pc:sldMk cId="2921440944" sldId="2146850134"/>
        </pc:sldMkLst>
        <pc:spChg chg="mod">
          <ac:chgData name="Caio Oriente Pereira" userId="cf0d9a0a-e124-4c03-aa21-7658adfbd4b5" providerId="ADAL" clId="{75441B16-FE08-4556-BAC4-BFB7AB5FC131}" dt="2023-10-03T19:48:58.340" v="1496" actId="20577"/>
          <ac:spMkLst>
            <pc:docMk/>
            <pc:sldMk cId="2921440944" sldId="2146850134"/>
            <ac:spMk id="6" creationId="{AA4BCCBB-42DA-C0F7-30A3-57DB92D4ECE8}"/>
          </ac:spMkLst>
        </pc:spChg>
      </pc:sldChg>
      <pc:sldChg chg="addSp delSp modSp add mod ord">
        <pc:chgData name="Caio Oriente Pereira" userId="cf0d9a0a-e124-4c03-aa21-7658adfbd4b5" providerId="ADAL" clId="{75441B16-FE08-4556-BAC4-BFB7AB5FC131}" dt="2023-10-04T18:00:12.418" v="3390" actId="20577"/>
        <pc:sldMkLst>
          <pc:docMk/>
          <pc:sldMk cId="66982648" sldId="2146850135"/>
        </pc:sldMkLst>
        <pc:spChg chg="add mod">
          <ac:chgData name="Caio Oriente Pereira" userId="cf0d9a0a-e124-4c03-aa21-7658adfbd4b5" providerId="ADAL" clId="{75441B16-FE08-4556-BAC4-BFB7AB5FC131}" dt="2023-10-04T15:06:07.114" v="2919" actId="14100"/>
          <ac:spMkLst>
            <pc:docMk/>
            <pc:sldMk cId="66982648" sldId="2146850135"/>
            <ac:spMk id="2" creationId="{3D727D35-C539-95D1-F6C3-4BD2FFCE052E}"/>
          </ac:spMkLst>
        </pc:spChg>
        <pc:spChg chg="mod">
          <ac:chgData name="Caio Oriente Pereira" userId="cf0d9a0a-e124-4c03-aa21-7658adfbd4b5" providerId="ADAL" clId="{75441B16-FE08-4556-BAC4-BFB7AB5FC131}" dt="2023-10-04T15:03:03.469" v="2915" actId="6549"/>
          <ac:spMkLst>
            <pc:docMk/>
            <pc:sldMk cId="66982648" sldId="2146850135"/>
            <ac:spMk id="3" creationId="{305507F4-E351-B93B-BD52-A2DD35DA6C97}"/>
          </ac:spMkLst>
        </pc:spChg>
        <pc:spChg chg="add mod">
          <ac:chgData name="Caio Oriente Pereira" userId="cf0d9a0a-e124-4c03-aa21-7658adfbd4b5" providerId="ADAL" clId="{75441B16-FE08-4556-BAC4-BFB7AB5FC131}" dt="2023-10-03T19:47:47.821" v="1488"/>
          <ac:spMkLst>
            <pc:docMk/>
            <pc:sldMk cId="66982648" sldId="2146850135"/>
            <ac:spMk id="4" creationId="{473DA97C-F9E4-4061-7274-36A87FC061DC}"/>
          </ac:spMkLst>
        </pc:spChg>
        <pc:spChg chg="add mod">
          <ac:chgData name="Caio Oriente Pereira" userId="cf0d9a0a-e124-4c03-aa21-7658adfbd4b5" providerId="ADAL" clId="{75441B16-FE08-4556-BAC4-BFB7AB5FC131}" dt="2023-10-04T18:00:12.418" v="3390" actId="20577"/>
          <ac:spMkLst>
            <pc:docMk/>
            <pc:sldMk cId="66982648" sldId="2146850135"/>
            <ac:spMk id="5" creationId="{FA698429-9EE9-86F6-7538-F006776AAE34}"/>
          </ac:spMkLst>
        </pc:spChg>
        <pc:spChg chg="del">
          <ac:chgData name="Caio Oriente Pereira" userId="cf0d9a0a-e124-4c03-aa21-7658adfbd4b5" providerId="ADAL" clId="{75441B16-FE08-4556-BAC4-BFB7AB5FC131}" dt="2023-10-03T19:47:47.256" v="1487" actId="478"/>
          <ac:spMkLst>
            <pc:docMk/>
            <pc:sldMk cId="66982648" sldId="2146850135"/>
            <ac:spMk id="6" creationId="{BAFE5D47-189A-675D-2A18-695720558139}"/>
          </ac:spMkLst>
        </pc:spChg>
        <pc:grpChg chg="add mod">
          <ac:chgData name="Caio Oriente Pereira" userId="cf0d9a0a-e124-4c03-aa21-7658adfbd4b5" providerId="ADAL" clId="{75441B16-FE08-4556-BAC4-BFB7AB5FC131}" dt="2023-10-04T14:45:05.868" v="2894" actId="1076"/>
          <ac:grpSpMkLst>
            <pc:docMk/>
            <pc:sldMk cId="66982648" sldId="2146850135"/>
            <ac:grpSpMk id="6" creationId="{63B8C307-0795-4A21-08C1-51137E87C96E}"/>
          </ac:grpSpMkLst>
        </pc:grpChg>
        <pc:grpChg chg="add mod">
          <ac:chgData name="Caio Oriente Pereira" userId="cf0d9a0a-e124-4c03-aa21-7658adfbd4b5" providerId="ADAL" clId="{75441B16-FE08-4556-BAC4-BFB7AB5FC131}" dt="2023-10-04T14:44:56.101" v="2891" actId="14100"/>
          <ac:grpSpMkLst>
            <pc:docMk/>
            <pc:sldMk cId="66982648" sldId="2146850135"/>
            <ac:grpSpMk id="9" creationId="{B7A32D94-404D-FA89-571D-BF91124145AC}"/>
          </ac:grpSpMkLst>
        </pc:grpChg>
        <pc:picChg chg="add mod">
          <ac:chgData name="Caio Oriente Pereira" userId="cf0d9a0a-e124-4c03-aa21-7658adfbd4b5" providerId="ADAL" clId="{75441B16-FE08-4556-BAC4-BFB7AB5FC131}" dt="2023-10-04T14:44:50.768" v="2889" actId="1076"/>
          <ac:picMkLst>
            <pc:docMk/>
            <pc:sldMk cId="66982648" sldId="2146850135"/>
            <ac:picMk id="7" creationId="{3B86127D-0140-13A5-1C99-6BDC4F5E00C6}"/>
          </ac:picMkLst>
        </pc:picChg>
        <pc:picChg chg="add mod">
          <ac:chgData name="Caio Oriente Pereira" userId="cf0d9a0a-e124-4c03-aa21-7658adfbd4b5" providerId="ADAL" clId="{75441B16-FE08-4556-BAC4-BFB7AB5FC131}" dt="2023-10-04T14:44:31.549" v="2884" actId="164"/>
          <ac:picMkLst>
            <pc:docMk/>
            <pc:sldMk cId="66982648" sldId="2146850135"/>
            <ac:picMk id="8" creationId="{F6D9E764-F1C2-07FA-6F96-0F1A1153EFF0}"/>
          </ac:picMkLst>
        </pc:picChg>
      </pc:sldChg>
      <pc:sldChg chg="addSp delSp modSp add mod">
        <pc:chgData name="Caio Oriente Pereira" userId="cf0d9a0a-e124-4c03-aa21-7658adfbd4b5" providerId="ADAL" clId="{75441B16-FE08-4556-BAC4-BFB7AB5FC131}" dt="2023-10-04T15:08:33.483" v="2939" actId="1076"/>
        <pc:sldMkLst>
          <pc:docMk/>
          <pc:sldMk cId="2889459719" sldId="2146850136"/>
        </pc:sldMkLst>
        <pc:spChg chg="del">
          <ac:chgData name="Caio Oriente Pereira" userId="cf0d9a0a-e124-4c03-aa21-7658adfbd4b5" providerId="ADAL" clId="{75441B16-FE08-4556-BAC4-BFB7AB5FC131}" dt="2023-10-03T19:56:36.469" v="1543" actId="478"/>
          <ac:spMkLst>
            <pc:docMk/>
            <pc:sldMk cId="2889459719" sldId="2146850136"/>
            <ac:spMk id="2" creationId="{3D727D35-C539-95D1-F6C3-4BD2FFCE052E}"/>
          </ac:spMkLst>
        </pc:spChg>
        <pc:spChg chg="add mod">
          <ac:chgData name="Caio Oriente Pereira" userId="cf0d9a0a-e124-4c03-aa21-7658adfbd4b5" providerId="ADAL" clId="{75441B16-FE08-4556-BAC4-BFB7AB5FC131}" dt="2023-10-04T15:06:31.424" v="2920" actId="164"/>
          <ac:spMkLst>
            <pc:docMk/>
            <pc:sldMk cId="2889459719" sldId="2146850136"/>
            <ac:spMk id="2" creationId="{95CE2FC1-2EE3-A6FA-8C9A-E8E0DD8BD02F}"/>
          </ac:spMkLst>
        </pc:spChg>
        <pc:spChg chg="mod">
          <ac:chgData name="Caio Oriente Pereira" userId="cf0d9a0a-e124-4c03-aa21-7658adfbd4b5" providerId="ADAL" clId="{75441B16-FE08-4556-BAC4-BFB7AB5FC131}" dt="2023-10-04T15:03:08.956" v="2916" actId="6549"/>
          <ac:spMkLst>
            <pc:docMk/>
            <pc:sldMk cId="2889459719" sldId="2146850136"/>
            <ac:spMk id="3" creationId="{305507F4-E351-B93B-BD52-A2DD35DA6C97}"/>
          </ac:spMkLst>
        </pc:spChg>
        <pc:spChg chg="del mod">
          <ac:chgData name="Caio Oriente Pereira" userId="cf0d9a0a-e124-4c03-aa21-7658adfbd4b5" providerId="ADAL" clId="{75441B16-FE08-4556-BAC4-BFB7AB5FC131}" dt="2023-10-03T19:56:33.725" v="1542" actId="478"/>
          <ac:spMkLst>
            <pc:docMk/>
            <pc:sldMk cId="2889459719" sldId="2146850136"/>
            <ac:spMk id="4" creationId="{473DA97C-F9E4-4061-7274-36A87FC061DC}"/>
          </ac:spMkLst>
        </pc:spChg>
        <pc:spChg chg="add mod">
          <ac:chgData name="Caio Oriente Pereira" userId="cf0d9a0a-e124-4c03-aa21-7658adfbd4b5" providerId="ADAL" clId="{75441B16-FE08-4556-BAC4-BFB7AB5FC131}" dt="2023-10-04T15:06:31.424" v="2920" actId="164"/>
          <ac:spMkLst>
            <pc:docMk/>
            <pc:sldMk cId="2889459719" sldId="2146850136"/>
            <ac:spMk id="4" creationId="{AA48E5F1-B755-E4D9-4A39-81E714277139}"/>
          </ac:spMkLst>
        </pc:spChg>
        <pc:spChg chg="add del mod">
          <ac:chgData name="Caio Oriente Pereira" userId="cf0d9a0a-e124-4c03-aa21-7658adfbd4b5" providerId="ADAL" clId="{75441B16-FE08-4556-BAC4-BFB7AB5FC131}" dt="2023-10-04T14:40:36.640" v="2827"/>
          <ac:spMkLst>
            <pc:docMk/>
            <pc:sldMk cId="2889459719" sldId="2146850136"/>
            <ac:spMk id="5" creationId="{719C08C2-11AC-E6EC-6412-39FAF5C4E168}"/>
          </ac:spMkLst>
        </pc:spChg>
        <pc:spChg chg="del">
          <ac:chgData name="Caio Oriente Pereira" userId="cf0d9a0a-e124-4c03-aa21-7658adfbd4b5" providerId="ADAL" clId="{75441B16-FE08-4556-BAC4-BFB7AB5FC131}" dt="2023-10-03T19:56:36.469" v="1543" actId="478"/>
          <ac:spMkLst>
            <pc:docMk/>
            <pc:sldMk cId="2889459719" sldId="2146850136"/>
            <ac:spMk id="5" creationId="{FA698429-9EE9-86F6-7538-F006776AAE34}"/>
          </ac:spMkLst>
        </pc:spChg>
        <pc:spChg chg="add del mod">
          <ac:chgData name="Caio Oriente Pereira" userId="cf0d9a0a-e124-4c03-aa21-7658adfbd4b5" providerId="ADAL" clId="{75441B16-FE08-4556-BAC4-BFB7AB5FC131}" dt="2023-10-04T14:40:36.640" v="2827"/>
          <ac:spMkLst>
            <pc:docMk/>
            <pc:sldMk cId="2889459719" sldId="2146850136"/>
            <ac:spMk id="6" creationId="{968C71B3-32C4-7259-ABF6-58E8BBEF5D74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10" creationId="{EC5C9633-C224-E446-4E9F-5E4E35E06D5F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11" creationId="{4341D3BD-9FD6-642D-D7BD-27C7718B0EAA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12" creationId="{886D95BD-7D6E-ADE0-2541-E2E731B01C31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13" creationId="{AA4F1F5D-EBBA-A340-9EF6-3E56FD4CAF8B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15" creationId="{CE3EBA24-5BE6-A19E-77CC-797CA4A06926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16" creationId="{4B93B296-2490-73D1-6B0B-67C56FE62D2A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17" creationId="{59AE9AD8-9F17-D4CA-F127-9C18C3C72E9D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18" creationId="{417AE68C-B1DA-BC0F-2BED-47232FA2C5B6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19" creationId="{AF9C00E0-F655-E9EF-BC75-94E8478E4AEA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20" creationId="{EB210EA9-25D9-4B79-7BE6-B15C3B240462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21" creationId="{BBD200DF-1038-07B6-C521-FCB16634ADA7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22" creationId="{90F6427E-677B-1600-8757-A8CC61C2FE03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23" creationId="{BB8E9ACA-7D91-B271-C36A-0DA3A05F16E8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24" creationId="{0B41F9CB-C026-A6F0-C5BC-17C87D18D241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25" creationId="{34613E86-2AEE-AC72-37DE-297D9A8C5816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26" creationId="{DD86DC2E-5140-79D9-3DC8-49133C10133E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27" creationId="{927EC854-15BF-E3F1-21FF-9A5116D0C1C3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28" creationId="{4A4AC64A-F191-7A6D-D46F-B680DFC8CF30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29" creationId="{93A511AB-6545-C2C5-B683-6AFC8C9CF300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30" creationId="{18550D10-637D-D7D2-BFBC-DB392CD9BF17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31" creationId="{925B8EE8-DDAA-36A9-34CE-C77C52E6313C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32" creationId="{F364EA6C-523F-0EE5-4683-9C35972B5CEA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33" creationId="{9352DD94-FD52-455E-34F3-DA08378702E9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34" creationId="{1865942C-94A1-264D-E7C3-BB2F521AF46C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35" creationId="{8A1B67FF-8577-8ADC-A654-A90BA983089C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36" creationId="{90694C80-73EB-B4A9-2450-FA86516E308E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37" creationId="{517A3DC9-4769-302A-48EE-55FF67D53386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38" creationId="{5BA0272F-4D12-B0FD-4C75-FE654A1CD455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39" creationId="{BBE9FCBC-191C-E2D7-DD2E-C94E6B73F621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40" creationId="{665229E6-016C-D616-55AE-BC3244E20044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41" creationId="{66A42E81-7F2B-B48F-ACA4-877685DC8177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42" creationId="{AF33EE79-C57E-BC0B-BD64-7A72BF1AED4A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43" creationId="{0B139EE6-2945-5263-64E5-AB84C5000D1B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44" creationId="{66AD12C4-A370-6F3F-1F6A-F76473125DA3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46" creationId="{B2532A57-6E5D-0AA9-034F-3C5710A96226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47" creationId="{2D185AEA-73AC-2CAE-FFA6-6966AE924060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48" creationId="{3B4EAADD-34C7-7021-149B-2B3AB76A326B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49" creationId="{0F8FE150-9B47-3852-29AE-37E960C51BBC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50" creationId="{83767022-9A60-CB6C-DEDD-560F6D740A71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51" creationId="{1ADBFAF5-51B0-4344-27DC-BD460954F536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52" creationId="{6B9AE15A-E4C6-90FB-70B2-2F75DA03AA96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53" creationId="{D48DC9D5-ED0B-CD2B-8180-D057A1BCC77E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54" creationId="{EECB8A9E-257E-1738-971C-EC538B300C56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55" creationId="{2F4E82BD-3362-DFA3-6D8F-F59EA82449F9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56" creationId="{E5B63569-B268-785A-C50C-3807B835A178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57" creationId="{FA7AFA25-E904-944A-3F18-0FBBD6096C5A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58" creationId="{C46D903D-DDBE-735B-4035-12DBE1F06F99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59" creationId="{BE06A7D9-7B9C-8EA0-F4F1-9B0B5A92CA0E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60" creationId="{02099596-DE6D-BD57-7E2D-14341CB63021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61" creationId="{1AFCEBED-3CB5-8B66-6B52-D67E2628AA2A}"/>
          </ac:spMkLst>
        </pc:spChg>
        <pc:spChg chg="mod">
          <ac:chgData name="Caio Oriente Pereira" userId="cf0d9a0a-e124-4c03-aa21-7658adfbd4b5" providerId="ADAL" clId="{75441B16-FE08-4556-BAC4-BFB7AB5FC131}" dt="2023-10-03T19:55:06.092" v="1521"/>
          <ac:spMkLst>
            <pc:docMk/>
            <pc:sldMk cId="2889459719" sldId="2146850136"/>
            <ac:spMk id="62" creationId="{C81B6B1E-8D1A-AE96-0815-B794B03FCB85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66" creationId="{D1DB1928-300B-D713-1DD5-D1E09DFAF9E6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67" creationId="{978EE6BC-1053-5821-0F97-830253A0323C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68" creationId="{2DAE0A32-D928-4FD7-6B75-81BED7623244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69" creationId="{91DF1368-C2FE-59B0-CDBA-63074360B682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70" creationId="{37B09512-6F90-C1EA-620B-8CEEA2D53F3A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71" creationId="{1B9B5D8D-3C20-85AB-0D9D-0C7A0576E62F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72" creationId="{9EB59869-5B61-0C87-00CC-EA7503574F22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73" creationId="{2DE45045-5EA0-F7FB-4FE9-648092F4174C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74" creationId="{AE170A5D-33E5-1F26-C9CC-5EE655C484BC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75" creationId="{4067EEE0-9BA1-0B95-1D03-E8D6FE142E2E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76" creationId="{96E4C69C-FC56-9F83-FE16-43A6134AC38D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77" creationId="{E48C6DB8-D0D8-E053-2768-564F7073860A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78" creationId="{AD4CD0CD-D2F5-0F0D-98A0-DEFB097D2496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79" creationId="{F26602D1-7F8E-5E01-1FE5-B4B3D0138E7E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80" creationId="{2D47FBF4-0C47-3402-1304-1F8983BE3A00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81" creationId="{A4B8921C-B4F7-64B1-32C6-DB139003AE81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82" creationId="{1DD2622A-7E87-F8E5-3369-1E666BB098BE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83" creationId="{D5D6CEE3-C9FA-C1AF-BD54-181A73F6D41A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84" creationId="{A2CCE48E-E6D1-5269-FF4A-5747A98C4B7D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85" creationId="{F64363DA-DD56-F202-913C-0079D210066B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86" creationId="{821CC065-01DF-FBF6-7A67-646ACF440776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87" creationId="{1E5ECC71-5C24-CB64-B728-D5A05E878FCC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88" creationId="{403BC578-557A-2D61-1201-3701EDE2100E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89" creationId="{35387742-6F66-1B6E-2622-AA696AEF60A4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90" creationId="{89EBB717-F127-5B88-191B-12D26DF0F9F5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91" creationId="{516D7451-A0D7-FFC8-4AE8-1EC3D8A3DF69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92" creationId="{A9B64946-E3C0-9243-5650-98DE583C9E5E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93" creationId="{E9F4A00D-513B-FB73-03B6-31A53CAF6177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94" creationId="{5C13F451-A17B-9EC2-7C74-E102108FF39B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95" creationId="{8E15EE4A-3D1B-4FC3-2EE6-3E1015278898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96" creationId="{40928BB9-16EC-F6F4-DD5F-C287A3B3E718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97" creationId="{4413396E-1143-3950-CC7E-B6CD652C5F5D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98" creationId="{B26F03B6-D1B5-3567-D1CF-B72707F83F6D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99" creationId="{4BFAF4FF-C965-8599-6D0E-C7E824555AD7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101" creationId="{A88E4822-5697-923D-C08D-20C9637EEC3E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102" creationId="{1EF11F39-4E0A-2A2D-07F9-B0D5D55DE115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103" creationId="{A05D2416-77CD-D636-9093-D323E1654B79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104" creationId="{8384619D-C38A-1F15-03E0-3B06F1AFD519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105" creationId="{6947306B-BD1A-309D-DE2B-AB19A0143390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106" creationId="{D6FF6C02-1356-17E6-4B94-23E4E5C7D100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107" creationId="{F2CA900C-439E-8864-3E45-8CEE59C88360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108" creationId="{DDDF8752-7D60-EADA-C99F-491A6680D188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109" creationId="{DC849981-0794-37BE-9C25-238658C92A64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110" creationId="{E3A0A94B-44F5-6EE8-F1AC-8A0A6D3349AB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111" creationId="{2205F1C5-6BEC-6D15-678C-BF5DCBBEEA56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112" creationId="{346BF4D6-F4BD-9E1F-CFA2-40C81C2AC50E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113" creationId="{D3322E7D-C7D3-9D66-2375-67C00D3B97D7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114" creationId="{3A906FF6-6A46-9FB5-E238-7157C5AD1AB3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115" creationId="{4634C28E-FE95-CC63-4EDC-DE8579CC0B67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116" creationId="{CE3CB53E-3FFD-863C-56CA-38A0D586AB1D}"/>
          </ac:spMkLst>
        </pc:spChg>
        <pc:spChg chg="mod">
          <ac:chgData name="Caio Oriente Pereira" userId="cf0d9a0a-e124-4c03-aa21-7658adfbd4b5" providerId="ADAL" clId="{75441B16-FE08-4556-BAC4-BFB7AB5FC131}" dt="2023-10-03T19:55:34.889" v="1527"/>
          <ac:spMkLst>
            <pc:docMk/>
            <pc:sldMk cId="2889459719" sldId="2146850136"/>
            <ac:spMk id="117" creationId="{51A0F1A9-4029-0D41-4517-E0EFC72DC6D9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21" creationId="{B9513DAB-73F8-C699-5014-BB209569F923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22" creationId="{C6D25D2B-87E6-A7EF-D651-B70936923886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23" creationId="{5018F155-FC92-A0FA-45E3-33A062B05FA1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24" creationId="{7EB82C5C-C0DF-5B29-0F5F-EBB2B8256964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25" creationId="{09122F42-5805-BA9C-E4EF-6E3079A83032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26" creationId="{C0370CD7-C7D2-A8F0-557C-EE1765DB5FDD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27" creationId="{E13FE905-B12F-0660-50AC-F25F55D31F1D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28" creationId="{A11654B4-1FE5-C2DD-9C23-CFFC74605641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29" creationId="{AA2C3B9E-E322-3357-C240-E6D83D8534F0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30" creationId="{36593DBA-1E67-726E-B3E9-30B87022F31E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31" creationId="{32D731DA-6AA8-B6A5-6B8B-2D43245C3F21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32" creationId="{A2711A26-5133-6D3A-A97B-0F521E824FB6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33" creationId="{CAD22F2E-5184-AA3D-6A49-1C37442C5E52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34" creationId="{D6BAF2F7-584C-FCB2-317E-F0AFFA6590DA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35" creationId="{AB10F21C-7201-51C8-4E97-632E9D802E8A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36" creationId="{5A46E0B6-0375-946F-7A9F-1D4D8CB0F672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37" creationId="{5D3929CF-1325-49B0-082B-E51051ABE250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38" creationId="{C970923C-5076-5645-DA04-B371B4F0F84B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39" creationId="{A6AF4370-FBB4-40E5-4EAF-2930F0ECB0D1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40" creationId="{96378744-7D7F-8167-88C0-986C545334D5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41" creationId="{DA9C4B18-B93B-C600-CA57-93DEB924E0B5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42" creationId="{EEF068BA-AD48-F388-99BB-EDE3B3664C9E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43" creationId="{56E8EF18-01DA-F7AE-C9DE-910CE7F40DDF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44" creationId="{EE0BEE6E-D220-EB24-561C-02CD032EE764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45" creationId="{49996CED-FD11-40D0-7002-8A3586DD2273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46" creationId="{3E8EE6EC-C956-0377-2E0D-B1A65B101602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47" creationId="{AB522C01-105D-06E9-CB1D-FC625DBAFFE5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48" creationId="{7B9FBAA1-2E93-1A32-76B4-CB5416DAF6D7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49" creationId="{3D3C8498-243B-848C-BF5D-DF09039FD6F8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50" creationId="{4E8C8D64-74AD-3321-6196-7BCC45C26DA7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51" creationId="{CEFA40ED-5FB1-E11F-74A5-2D151A1ECDA7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52" creationId="{77B4F1A7-8DA4-D209-A02E-5005E6AAED58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53" creationId="{2631ADAD-645C-0899-CF70-3C4F2D670EC0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54" creationId="{4451495E-38AB-8F3A-8A3C-3CA89040D1E6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56" creationId="{FC11F469-7C8E-2459-72DB-9CED61475020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57" creationId="{96B64364-0594-1A2E-6755-930A502CD4CB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58" creationId="{3BF690A0-A5FD-613C-EF28-2620F4930F0E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59" creationId="{DD27E4E2-08DB-B5F7-567D-4FE15239D3AD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60" creationId="{C27A024D-7DF0-9E70-1F9A-44FD908BD507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61" creationId="{1BCEF19E-47F9-1208-64DE-73D64764E78F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62" creationId="{3773F071-4819-DE57-4958-9067946E96D9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63" creationId="{F5D7189D-2775-F6F4-01D9-E2CC883326DC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64" creationId="{B8361360-203E-B7EF-FFD6-8ED40D95D556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65" creationId="{6B18AAE6-0129-5832-C47E-C5B09EB64F64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66" creationId="{50BEB410-C76C-DDC1-44DE-A77B0CB43AA6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67" creationId="{ABC99616-9D7C-86CB-E115-243C667364E4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68" creationId="{A7C6F535-767E-5EDB-33F2-873FA92300C3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69" creationId="{4B044CFE-18B3-D0EE-0550-26F621E9E0F7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70" creationId="{9B4E5B1B-EB26-1A74-ACE0-7F77032C5B14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71" creationId="{3A0968FC-81CC-AAAB-D3F6-4577E24C3FA0}"/>
          </ac:spMkLst>
        </pc:spChg>
        <pc:spChg chg="mod">
          <ac:chgData name="Caio Oriente Pereira" userId="cf0d9a0a-e124-4c03-aa21-7658adfbd4b5" providerId="ADAL" clId="{75441B16-FE08-4556-BAC4-BFB7AB5FC131}" dt="2023-10-04T15:08:21.639" v="2937" actId="1076"/>
          <ac:spMkLst>
            <pc:docMk/>
            <pc:sldMk cId="2889459719" sldId="2146850136"/>
            <ac:spMk id="172" creationId="{339BDD7E-FE97-FD99-2A49-069D6507D713}"/>
          </ac:spMkLst>
        </pc:spChg>
        <pc:spChg chg="add del mod">
          <ac:chgData name="Caio Oriente Pereira" userId="cf0d9a0a-e124-4c03-aa21-7658adfbd4b5" providerId="ADAL" clId="{75441B16-FE08-4556-BAC4-BFB7AB5FC131}" dt="2023-10-04T14:40:28.237" v="2824" actId="478"/>
          <ac:spMkLst>
            <pc:docMk/>
            <pc:sldMk cId="2889459719" sldId="2146850136"/>
            <ac:spMk id="175" creationId="{696E4A8A-40BF-E8FA-656D-E8A085B123A8}"/>
          </ac:spMkLst>
        </pc:spChg>
        <pc:spChg chg="add del mod">
          <ac:chgData name="Caio Oriente Pereira" userId="cf0d9a0a-e124-4c03-aa21-7658adfbd4b5" providerId="ADAL" clId="{75441B16-FE08-4556-BAC4-BFB7AB5FC131}" dt="2023-10-04T14:40:28.237" v="2824" actId="478"/>
          <ac:spMkLst>
            <pc:docMk/>
            <pc:sldMk cId="2889459719" sldId="2146850136"/>
            <ac:spMk id="176" creationId="{420BB981-85CD-7663-841E-74166D6CF826}"/>
          </ac:spMkLst>
        </pc:spChg>
        <pc:spChg chg="add del mod">
          <ac:chgData name="Caio Oriente Pereira" userId="cf0d9a0a-e124-4c03-aa21-7658adfbd4b5" providerId="ADAL" clId="{75441B16-FE08-4556-BAC4-BFB7AB5FC131}" dt="2023-10-04T14:40:28.237" v="2824" actId="478"/>
          <ac:spMkLst>
            <pc:docMk/>
            <pc:sldMk cId="2889459719" sldId="2146850136"/>
            <ac:spMk id="177" creationId="{8EA9EB42-338C-B5B2-2299-6F228E3CB9A5}"/>
          </ac:spMkLst>
        </pc:spChg>
        <pc:spChg chg="add del mod">
          <ac:chgData name="Caio Oriente Pereira" userId="cf0d9a0a-e124-4c03-aa21-7658adfbd4b5" providerId="ADAL" clId="{75441B16-FE08-4556-BAC4-BFB7AB5FC131}" dt="2023-10-04T14:40:28.237" v="2824" actId="478"/>
          <ac:spMkLst>
            <pc:docMk/>
            <pc:sldMk cId="2889459719" sldId="2146850136"/>
            <ac:spMk id="178" creationId="{9A23D67B-5D2A-E50E-8151-D736AB1853D7}"/>
          </ac:spMkLst>
        </pc:spChg>
        <pc:spChg chg="add del mod">
          <ac:chgData name="Caio Oriente Pereira" userId="cf0d9a0a-e124-4c03-aa21-7658adfbd4b5" providerId="ADAL" clId="{75441B16-FE08-4556-BAC4-BFB7AB5FC131}" dt="2023-10-04T14:42:31.956" v="2864" actId="478"/>
          <ac:spMkLst>
            <pc:docMk/>
            <pc:sldMk cId="2889459719" sldId="2146850136"/>
            <ac:spMk id="179" creationId="{3106C892-43C1-D71B-6EC5-A53871A6105D}"/>
          </ac:spMkLst>
        </pc:spChg>
        <pc:spChg chg="add del mod">
          <ac:chgData name="Caio Oriente Pereira" userId="cf0d9a0a-e124-4c03-aa21-7658adfbd4b5" providerId="ADAL" clId="{75441B16-FE08-4556-BAC4-BFB7AB5FC131}" dt="2023-10-03T20:00:32.715" v="1579" actId="478"/>
          <ac:spMkLst>
            <pc:docMk/>
            <pc:sldMk cId="2889459719" sldId="2146850136"/>
            <ac:spMk id="180" creationId="{3100C5BC-0997-F926-3525-4499B6CB4428}"/>
          </ac:spMkLst>
        </pc:spChg>
        <pc:spChg chg="add del mod">
          <ac:chgData name="Caio Oriente Pereira" userId="cf0d9a0a-e124-4c03-aa21-7658adfbd4b5" providerId="ADAL" clId="{75441B16-FE08-4556-BAC4-BFB7AB5FC131}" dt="2023-10-04T14:42:31.956" v="2864" actId="478"/>
          <ac:spMkLst>
            <pc:docMk/>
            <pc:sldMk cId="2889459719" sldId="2146850136"/>
            <ac:spMk id="181" creationId="{B6EF8F61-CDE8-56E8-AF7B-70D1EAD58151}"/>
          </ac:spMkLst>
        </pc:spChg>
        <pc:spChg chg="add del mod">
          <ac:chgData name="Caio Oriente Pereira" userId="cf0d9a0a-e124-4c03-aa21-7658adfbd4b5" providerId="ADAL" clId="{75441B16-FE08-4556-BAC4-BFB7AB5FC131}" dt="2023-10-04T14:40:28.237" v="2824" actId="478"/>
          <ac:spMkLst>
            <pc:docMk/>
            <pc:sldMk cId="2889459719" sldId="2146850136"/>
            <ac:spMk id="182" creationId="{2E2EFD9F-1126-DD8D-66ED-97213B50A6D7}"/>
          </ac:spMkLst>
        </pc:spChg>
        <pc:spChg chg="add del mod">
          <ac:chgData name="Caio Oriente Pereira" userId="cf0d9a0a-e124-4c03-aa21-7658adfbd4b5" providerId="ADAL" clId="{75441B16-FE08-4556-BAC4-BFB7AB5FC131}" dt="2023-10-04T14:40:28.237" v="2824" actId="478"/>
          <ac:spMkLst>
            <pc:docMk/>
            <pc:sldMk cId="2889459719" sldId="2146850136"/>
            <ac:spMk id="183" creationId="{72E05931-EFC4-1E72-F148-3B19BBA50BF3}"/>
          </ac:spMkLst>
        </pc:spChg>
        <pc:spChg chg="add mod">
          <ac:chgData name="Caio Oriente Pereira" userId="cf0d9a0a-e124-4c03-aa21-7658adfbd4b5" providerId="ADAL" clId="{75441B16-FE08-4556-BAC4-BFB7AB5FC131}" dt="2023-10-03T19:58:47.845" v="1557" actId="164"/>
          <ac:spMkLst>
            <pc:docMk/>
            <pc:sldMk cId="2889459719" sldId="2146850136"/>
            <ac:spMk id="184" creationId="{F03450E2-18A3-EB45-2F58-6C50CB07227D}"/>
          </ac:spMkLst>
        </pc:spChg>
        <pc:spChg chg="add mod">
          <ac:chgData name="Caio Oriente Pereira" userId="cf0d9a0a-e124-4c03-aa21-7658adfbd4b5" providerId="ADAL" clId="{75441B16-FE08-4556-BAC4-BFB7AB5FC131}" dt="2023-10-03T19:58:47.845" v="1557" actId="164"/>
          <ac:spMkLst>
            <pc:docMk/>
            <pc:sldMk cId="2889459719" sldId="2146850136"/>
            <ac:spMk id="185" creationId="{2E3AD753-AC5B-7CF3-D45C-19831212B0D3}"/>
          </ac:spMkLst>
        </pc:spChg>
        <pc:grpChg chg="add del mod">
          <ac:chgData name="Caio Oriente Pereira" userId="cf0d9a0a-e124-4c03-aa21-7658adfbd4b5" providerId="ADAL" clId="{75441B16-FE08-4556-BAC4-BFB7AB5FC131}" dt="2023-10-03T19:55:07.983" v="1522"/>
          <ac:grpSpMkLst>
            <pc:docMk/>
            <pc:sldMk cId="2889459719" sldId="2146850136"/>
            <ac:grpSpMk id="6" creationId="{FCC4894C-56CB-93C3-248C-46C80C249CF3}"/>
          </ac:grpSpMkLst>
        </pc:grpChg>
        <pc:grpChg chg="add mod">
          <ac:chgData name="Caio Oriente Pereira" userId="cf0d9a0a-e124-4c03-aa21-7658adfbd4b5" providerId="ADAL" clId="{75441B16-FE08-4556-BAC4-BFB7AB5FC131}" dt="2023-10-04T15:06:46.805" v="2922" actId="1076"/>
          <ac:grpSpMkLst>
            <pc:docMk/>
            <pc:sldMk cId="2889459719" sldId="2146850136"/>
            <ac:grpSpMk id="7" creationId="{DECEDBA6-949A-35B2-C925-EF6825D4AD53}"/>
          </ac:grpSpMkLst>
        </pc:grpChg>
        <pc:grpChg chg="mod">
          <ac:chgData name="Caio Oriente Pereira" userId="cf0d9a0a-e124-4c03-aa21-7658adfbd4b5" providerId="ADAL" clId="{75441B16-FE08-4556-BAC4-BFB7AB5FC131}" dt="2023-10-03T19:55:06.092" v="1521"/>
          <ac:grpSpMkLst>
            <pc:docMk/>
            <pc:sldMk cId="2889459719" sldId="2146850136"/>
            <ac:grpSpMk id="9" creationId="{523EBA97-2B90-4CA7-EC38-13912C19C93A}"/>
          </ac:grpSpMkLst>
        </pc:grpChg>
        <pc:grpChg chg="add del mod">
          <ac:chgData name="Caio Oriente Pereira" userId="cf0d9a0a-e124-4c03-aa21-7658adfbd4b5" providerId="ADAL" clId="{75441B16-FE08-4556-BAC4-BFB7AB5FC131}" dt="2023-10-03T19:55:07.983" v="1522"/>
          <ac:grpSpMkLst>
            <pc:docMk/>
            <pc:sldMk cId="2889459719" sldId="2146850136"/>
            <ac:grpSpMk id="45" creationId="{C103740C-F1D6-BB0C-C01A-4A7D69D1D7DF}"/>
          </ac:grpSpMkLst>
        </pc:grpChg>
        <pc:grpChg chg="add del mod">
          <ac:chgData name="Caio Oriente Pereira" userId="cf0d9a0a-e124-4c03-aa21-7658adfbd4b5" providerId="ADAL" clId="{75441B16-FE08-4556-BAC4-BFB7AB5FC131}" dt="2023-10-03T19:55:43.206" v="1530"/>
          <ac:grpSpMkLst>
            <pc:docMk/>
            <pc:sldMk cId="2889459719" sldId="2146850136"/>
            <ac:grpSpMk id="64" creationId="{684F16C7-545F-E02D-F727-43D324C3488E}"/>
          </ac:grpSpMkLst>
        </pc:grpChg>
        <pc:grpChg chg="mod">
          <ac:chgData name="Caio Oriente Pereira" userId="cf0d9a0a-e124-4c03-aa21-7658adfbd4b5" providerId="ADAL" clId="{75441B16-FE08-4556-BAC4-BFB7AB5FC131}" dt="2023-10-03T19:55:34.889" v="1527"/>
          <ac:grpSpMkLst>
            <pc:docMk/>
            <pc:sldMk cId="2889459719" sldId="2146850136"/>
            <ac:grpSpMk id="65" creationId="{95B4D9FA-20BE-0207-0DCB-846DCF2A2E79}"/>
          </ac:grpSpMkLst>
        </pc:grpChg>
        <pc:grpChg chg="add del mod">
          <ac:chgData name="Caio Oriente Pereira" userId="cf0d9a0a-e124-4c03-aa21-7658adfbd4b5" providerId="ADAL" clId="{75441B16-FE08-4556-BAC4-BFB7AB5FC131}" dt="2023-10-03T19:55:43.206" v="1530"/>
          <ac:grpSpMkLst>
            <pc:docMk/>
            <pc:sldMk cId="2889459719" sldId="2146850136"/>
            <ac:grpSpMk id="100" creationId="{E28A5167-CD92-001B-190E-E902837AE1E0}"/>
          </ac:grpSpMkLst>
        </pc:grpChg>
        <pc:grpChg chg="add mod topLvl">
          <ac:chgData name="Caio Oriente Pereira" userId="cf0d9a0a-e124-4c03-aa21-7658adfbd4b5" providerId="ADAL" clId="{75441B16-FE08-4556-BAC4-BFB7AB5FC131}" dt="2023-10-04T15:08:21.639" v="2937" actId="1076"/>
          <ac:grpSpMkLst>
            <pc:docMk/>
            <pc:sldMk cId="2889459719" sldId="2146850136"/>
            <ac:grpSpMk id="119" creationId="{56441D5C-B0F0-2C0C-116E-5A0C5C0B6C92}"/>
          </ac:grpSpMkLst>
        </pc:grpChg>
        <pc:grpChg chg="mod">
          <ac:chgData name="Caio Oriente Pereira" userId="cf0d9a0a-e124-4c03-aa21-7658adfbd4b5" providerId="ADAL" clId="{75441B16-FE08-4556-BAC4-BFB7AB5FC131}" dt="2023-10-04T15:08:21.639" v="2937" actId="1076"/>
          <ac:grpSpMkLst>
            <pc:docMk/>
            <pc:sldMk cId="2889459719" sldId="2146850136"/>
            <ac:grpSpMk id="120" creationId="{2CF8421A-27CF-E833-853A-0681C2612188}"/>
          </ac:grpSpMkLst>
        </pc:grpChg>
        <pc:grpChg chg="add mod topLvl">
          <ac:chgData name="Caio Oriente Pereira" userId="cf0d9a0a-e124-4c03-aa21-7658adfbd4b5" providerId="ADAL" clId="{75441B16-FE08-4556-BAC4-BFB7AB5FC131}" dt="2023-10-04T15:08:30.512" v="2938" actId="1076"/>
          <ac:grpSpMkLst>
            <pc:docMk/>
            <pc:sldMk cId="2889459719" sldId="2146850136"/>
            <ac:grpSpMk id="155" creationId="{BC7087AC-5933-B9DB-5604-C6449F8A9873}"/>
          </ac:grpSpMkLst>
        </pc:grpChg>
        <pc:grpChg chg="add del mod">
          <ac:chgData name="Caio Oriente Pereira" userId="cf0d9a0a-e124-4c03-aa21-7658adfbd4b5" providerId="ADAL" clId="{75441B16-FE08-4556-BAC4-BFB7AB5FC131}" dt="2023-10-04T15:07:26.404" v="2925" actId="165"/>
          <ac:grpSpMkLst>
            <pc:docMk/>
            <pc:sldMk cId="2889459719" sldId="2146850136"/>
            <ac:grpSpMk id="174" creationId="{139A5047-2995-45C1-CD1B-BB1505D72138}"/>
          </ac:grpSpMkLst>
        </pc:grpChg>
        <pc:grpChg chg="add del mod">
          <ac:chgData name="Caio Oriente Pereira" userId="cf0d9a0a-e124-4c03-aa21-7658adfbd4b5" providerId="ADAL" clId="{75441B16-FE08-4556-BAC4-BFB7AB5FC131}" dt="2023-10-03T20:00:45.394" v="1581" actId="478"/>
          <ac:grpSpMkLst>
            <pc:docMk/>
            <pc:sldMk cId="2889459719" sldId="2146850136"/>
            <ac:grpSpMk id="186" creationId="{5F4F9962-721E-006C-6A6F-02BA4C318CAA}"/>
          </ac:grpSpMkLst>
        </pc:grpChg>
        <pc:picChg chg="del">
          <ac:chgData name="Caio Oriente Pereira" userId="cf0d9a0a-e124-4c03-aa21-7658adfbd4b5" providerId="ADAL" clId="{75441B16-FE08-4556-BAC4-BFB7AB5FC131}" dt="2023-10-03T19:55:02.974" v="1519" actId="478"/>
          <ac:picMkLst>
            <pc:docMk/>
            <pc:sldMk cId="2889459719" sldId="2146850136"/>
            <ac:picMk id="7" creationId="{3B86127D-0140-13A5-1C99-6BDC4F5E00C6}"/>
          </ac:picMkLst>
        </pc:picChg>
        <pc:picChg chg="add del">
          <ac:chgData name="Caio Oriente Pereira" userId="cf0d9a0a-e124-4c03-aa21-7658adfbd4b5" providerId="ADAL" clId="{75441B16-FE08-4556-BAC4-BFB7AB5FC131}" dt="2023-10-03T19:55:15.308" v="1526" actId="478"/>
          <ac:picMkLst>
            <pc:docMk/>
            <pc:sldMk cId="2889459719" sldId="2146850136"/>
            <ac:picMk id="8" creationId="{F6D9E764-F1C2-07FA-6F96-0F1A1153EFF0}"/>
          </ac:picMkLst>
        </pc:picChg>
        <pc:picChg chg="add del mod">
          <ac:chgData name="Caio Oriente Pereira" userId="cf0d9a0a-e124-4c03-aa21-7658adfbd4b5" providerId="ADAL" clId="{75441B16-FE08-4556-BAC4-BFB7AB5FC131}" dt="2023-10-03T19:55:07.983" v="1522"/>
          <ac:picMkLst>
            <pc:docMk/>
            <pc:sldMk cId="2889459719" sldId="2146850136"/>
            <ac:picMk id="63" creationId="{D40D338E-75CC-DEAC-3917-A805E8D0EB5F}"/>
          </ac:picMkLst>
        </pc:picChg>
        <pc:picChg chg="add del mod">
          <ac:chgData name="Caio Oriente Pereira" userId="cf0d9a0a-e124-4c03-aa21-7658adfbd4b5" providerId="ADAL" clId="{75441B16-FE08-4556-BAC4-BFB7AB5FC131}" dt="2023-10-03T19:55:43.206" v="1530"/>
          <ac:picMkLst>
            <pc:docMk/>
            <pc:sldMk cId="2889459719" sldId="2146850136"/>
            <ac:picMk id="118" creationId="{0937D2D9-3783-EBDC-7B48-F1B7429C7B69}"/>
          </ac:picMkLst>
        </pc:picChg>
        <pc:picChg chg="add mod topLvl">
          <ac:chgData name="Caio Oriente Pereira" userId="cf0d9a0a-e124-4c03-aa21-7658adfbd4b5" providerId="ADAL" clId="{75441B16-FE08-4556-BAC4-BFB7AB5FC131}" dt="2023-10-04T15:08:33.483" v="2939" actId="1076"/>
          <ac:picMkLst>
            <pc:docMk/>
            <pc:sldMk cId="2889459719" sldId="2146850136"/>
            <ac:picMk id="173" creationId="{D621C470-9323-4D31-EEA1-190ADEF82EA0}"/>
          </ac:picMkLst>
        </pc:picChg>
      </pc:sldChg>
      <pc:sldChg chg="addSp delSp modSp add del mod">
        <pc:chgData name="Caio Oriente Pereira" userId="cf0d9a0a-e124-4c03-aa21-7658adfbd4b5" providerId="ADAL" clId="{75441B16-FE08-4556-BAC4-BFB7AB5FC131}" dt="2023-10-04T13:43:22.691" v="2256" actId="47"/>
        <pc:sldMkLst>
          <pc:docMk/>
          <pc:sldMk cId="1234870101" sldId="2146850137"/>
        </pc:sldMkLst>
        <pc:spChg chg="mod">
          <ac:chgData name="Caio Oriente Pereira" userId="cf0d9a0a-e124-4c03-aa21-7658adfbd4b5" providerId="ADAL" clId="{75441B16-FE08-4556-BAC4-BFB7AB5FC131}" dt="2023-10-03T20:52:55.191" v="1635" actId="207"/>
          <ac:spMkLst>
            <pc:docMk/>
            <pc:sldMk cId="1234870101" sldId="2146850137"/>
            <ac:spMk id="2" creationId="{6B66F335-8E69-C31F-24CA-A21A4D57FEEA}"/>
          </ac:spMkLst>
        </pc:spChg>
        <pc:spChg chg="mod">
          <ac:chgData name="Caio Oriente Pereira" userId="cf0d9a0a-e124-4c03-aa21-7658adfbd4b5" providerId="ADAL" clId="{75441B16-FE08-4556-BAC4-BFB7AB5FC131}" dt="2023-10-03T21:04:43.680" v="1840" actId="20577"/>
          <ac:spMkLst>
            <pc:docMk/>
            <pc:sldMk cId="1234870101" sldId="2146850137"/>
            <ac:spMk id="3" creationId="{305507F4-E351-B93B-BD52-A2DD35DA6C97}"/>
          </ac:spMkLst>
        </pc:spChg>
        <pc:spChg chg="add del mod">
          <ac:chgData name="Caio Oriente Pereira" userId="cf0d9a0a-e124-4c03-aa21-7658adfbd4b5" providerId="ADAL" clId="{75441B16-FE08-4556-BAC4-BFB7AB5FC131}" dt="2023-10-03T20:52:13.411" v="1628"/>
          <ac:spMkLst>
            <pc:docMk/>
            <pc:sldMk cId="1234870101" sldId="2146850137"/>
            <ac:spMk id="4" creationId="{760A72FB-06B5-1295-A01E-27E14E9C03D6}"/>
          </ac:spMkLst>
        </pc:spChg>
        <pc:spChg chg="add del mod">
          <ac:chgData name="Caio Oriente Pereira" userId="cf0d9a0a-e124-4c03-aa21-7658adfbd4b5" providerId="ADAL" clId="{75441B16-FE08-4556-BAC4-BFB7AB5FC131}" dt="2023-10-03T20:52:13.411" v="1628"/>
          <ac:spMkLst>
            <pc:docMk/>
            <pc:sldMk cId="1234870101" sldId="2146850137"/>
            <ac:spMk id="5" creationId="{F6E03D33-1172-53BF-8111-6342B0A084D6}"/>
          </ac:spMkLst>
        </pc:spChg>
        <pc:spChg chg="mod">
          <ac:chgData name="Caio Oriente Pereira" userId="cf0d9a0a-e124-4c03-aa21-7658adfbd4b5" providerId="ADAL" clId="{75441B16-FE08-4556-BAC4-BFB7AB5FC131}" dt="2023-10-03T20:53:37.298" v="1647" actId="14100"/>
          <ac:spMkLst>
            <pc:docMk/>
            <pc:sldMk cId="1234870101" sldId="2146850137"/>
            <ac:spMk id="7" creationId="{7387C008-D10C-0123-3C56-B315B998B20F}"/>
          </ac:spMkLst>
        </pc:spChg>
        <pc:spChg chg="add del mod">
          <ac:chgData name="Caio Oriente Pereira" userId="cf0d9a0a-e124-4c03-aa21-7658adfbd4b5" providerId="ADAL" clId="{75441B16-FE08-4556-BAC4-BFB7AB5FC131}" dt="2023-10-04T13:42:25.382" v="2238" actId="478"/>
          <ac:spMkLst>
            <pc:docMk/>
            <pc:sldMk cId="1234870101" sldId="2146850137"/>
            <ac:spMk id="9" creationId="{7A8B293B-A21C-F1FD-52D8-5EE2E9547C4D}"/>
          </ac:spMkLst>
        </pc:spChg>
        <pc:spChg chg="add del mod">
          <ac:chgData name="Caio Oriente Pereira" userId="cf0d9a0a-e124-4c03-aa21-7658adfbd4b5" providerId="ADAL" clId="{75441B16-FE08-4556-BAC4-BFB7AB5FC131}" dt="2023-10-04T13:42:25.382" v="2238" actId="478"/>
          <ac:spMkLst>
            <pc:docMk/>
            <pc:sldMk cId="1234870101" sldId="2146850137"/>
            <ac:spMk id="13" creationId="{26A794D7-9E14-3836-3001-9DC569B98C2E}"/>
          </ac:spMkLst>
        </pc:spChg>
        <pc:spChg chg="mod">
          <ac:chgData name="Caio Oriente Pereira" userId="cf0d9a0a-e124-4c03-aa21-7658adfbd4b5" providerId="ADAL" clId="{75441B16-FE08-4556-BAC4-BFB7AB5FC131}" dt="2023-10-03T20:53:43.310" v="1652" actId="1035"/>
          <ac:spMkLst>
            <pc:docMk/>
            <pc:sldMk cId="1234870101" sldId="2146850137"/>
            <ac:spMk id="15" creationId="{D4DDAF96-F9A1-C3AA-A474-8C60198FB968}"/>
          </ac:spMkLst>
        </pc:spChg>
        <pc:spChg chg="add del mod">
          <ac:chgData name="Caio Oriente Pereira" userId="cf0d9a0a-e124-4c03-aa21-7658adfbd4b5" providerId="ADAL" clId="{75441B16-FE08-4556-BAC4-BFB7AB5FC131}" dt="2023-10-04T13:42:25.382" v="2238" actId="478"/>
          <ac:spMkLst>
            <pc:docMk/>
            <pc:sldMk cId="1234870101" sldId="2146850137"/>
            <ac:spMk id="16" creationId="{6B16C9C4-6A02-289C-F2F4-4683F05FA1D7}"/>
          </ac:spMkLst>
        </pc:spChg>
        <pc:spChg chg="mod">
          <ac:chgData name="Caio Oriente Pereira" userId="cf0d9a0a-e124-4c03-aa21-7658adfbd4b5" providerId="ADAL" clId="{75441B16-FE08-4556-BAC4-BFB7AB5FC131}" dt="2023-10-03T20:53:17.658" v="1639"/>
          <ac:spMkLst>
            <pc:docMk/>
            <pc:sldMk cId="1234870101" sldId="2146850137"/>
            <ac:spMk id="17" creationId="{537EC0CE-934B-D92C-22AF-EE1CF6AE1460}"/>
          </ac:spMkLst>
        </pc:spChg>
        <pc:spChg chg="mod">
          <ac:chgData name="Caio Oriente Pereira" userId="cf0d9a0a-e124-4c03-aa21-7658adfbd4b5" providerId="ADAL" clId="{75441B16-FE08-4556-BAC4-BFB7AB5FC131}" dt="2023-10-03T20:53:24.836" v="1641" actId="1076"/>
          <ac:spMkLst>
            <pc:docMk/>
            <pc:sldMk cId="1234870101" sldId="2146850137"/>
            <ac:spMk id="18" creationId="{6E43EBB5-DB7E-4D61-9498-9C67160900FB}"/>
          </ac:spMkLst>
        </pc:spChg>
        <pc:spChg chg="add del mod">
          <ac:chgData name="Caio Oriente Pereira" userId="cf0d9a0a-e124-4c03-aa21-7658adfbd4b5" providerId="ADAL" clId="{75441B16-FE08-4556-BAC4-BFB7AB5FC131}" dt="2023-10-04T13:42:25.382" v="2238" actId="478"/>
          <ac:spMkLst>
            <pc:docMk/>
            <pc:sldMk cId="1234870101" sldId="2146850137"/>
            <ac:spMk id="20" creationId="{D4D19254-496F-42B2-6805-611D22711B20}"/>
          </ac:spMkLst>
        </pc:spChg>
        <pc:grpChg chg="add del mod">
          <ac:chgData name="Caio Oriente Pereira" userId="cf0d9a0a-e124-4c03-aa21-7658adfbd4b5" providerId="ADAL" clId="{75441B16-FE08-4556-BAC4-BFB7AB5FC131}" dt="2023-10-04T13:42:44.466" v="2240" actId="478"/>
          <ac:grpSpMkLst>
            <pc:docMk/>
            <pc:sldMk cId="1234870101" sldId="2146850137"/>
            <ac:grpSpMk id="6" creationId="{2A96676F-33CE-271B-E327-4E1CA11D63EA}"/>
          </ac:grpSpMkLst>
        </pc:grpChg>
        <pc:grpChg chg="mod">
          <ac:chgData name="Caio Oriente Pereira" userId="cf0d9a0a-e124-4c03-aa21-7658adfbd4b5" providerId="ADAL" clId="{75441B16-FE08-4556-BAC4-BFB7AB5FC131}" dt="2023-10-03T20:53:17.658" v="1639"/>
          <ac:grpSpMkLst>
            <pc:docMk/>
            <pc:sldMk cId="1234870101" sldId="2146850137"/>
            <ac:grpSpMk id="8" creationId="{223D57AE-455E-C6D1-6D9C-59459A0CDEEE}"/>
          </ac:grpSpMkLst>
        </pc:grpChg>
        <pc:picChg chg="mod">
          <ac:chgData name="Caio Oriente Pereira" userId="cf0d9a0a-e124-4c03-aa21-7658adfbd4b5" providerId="ADAL" clId="{75441B16-FE08-4556-BAC4-BFB7AB5FC131}" dt="2023-10-03T20:52:55.191" v="1635" actId="207"/>
          <ac:picMkLst>
            <pc:docMk/>
            <pc:sldMk cId="1234870101" sldId="2146850137"/>
            <ac:picMk id="19" creationId="{8A478CC3-B575-54FD-041E-06BAE3B796FE}"/>
          </ac:picMkLst>
        </pc:picChg>
        <pc:picChg chg="mod">
          <ac:chgData name="Caio Oriente Pereira" userId="cf0d9a0a-e124-4c03-aa21-7658adfbd4b5" providerId="ADAL" clId="{75441B16-FE08-4556-BAC4-BFB7AB5FC131}" dt="2023-10-03T20:52:55.191" v="1635" actId="207"/>
          <ac:picMkLst>
            <pc:docMk/>
            <pc:sldMk cId="1234870101" sldId="2146850137"/>
            <ac:picMk id="23" creationId="{8E2A8B12-C7D8-92BA-58B3-012A57A097E0}"/>
          </ac:picMkLst>
        </pc:picChg>
      </pc:sldChg>
      <pc:sldChg chg="addSp modSp add mod">
        <pc:chgData name="Caio Oriente Pereira" userId="cf0d9a0a-e124-4c03-aa21-7658adfbd4b5" providerId="ADAL" clId="{75441B16-FE08-4556-BAC4-BFB7AB5FC131}" dt="2023-10-04T15:39:01.351" v="3378" actId="1035"/>
        <pc:sldMkLst>
          <pc:docMk/>
          <pc:sldMk cId="2008892223" sldId="2146850138"/>
        </pc:sldMkLst>
        <pc:spChg chg="mod">
          <ac:chgData name="Caio Oriente Pereira" userId="cf0d9a0a-e124-4c03-aa21-7658adfbd4b5" providerId="ADAL" clId="{75441B16-FE08-4556-BAC4-BFB7AB5FC131}" dt="2023-10-04T14:04:04.808" v="2348" actId="12"/>
          <ac:spMkLst>
            <pc:docMk/>
            <pc:sldMk cId="2008892223" sldId="2146850138"/>
            <ac:spMk id="2" creationId="{6B66F335-8E69-C31F-24CA-A21A4D57FEEA}"/>
          </ac:spMkLst>
        </pc:spChg>
        <pc:spChg chg="mod">
          <ac:chgData name="Caio Oriente Pereira" userId="cf0d9a0a-e124-4c03-aa21-7658adfbd4b5" providerId="ADAL" clId="{75441B16-FE08-4556-BAC4-BFB7AB5FC131}" dt="2023-10-04T15:39:01.351" v="3378" actId="1035"/>
          <ac:spMkLst>
            <pc:docMk/>
            <pc:sldMk cId="2008892223" sldId="2146850138"/>
            <ac:spMk id="3" creationId="{305507F4-E351-B93B-BD52-A2DD35DA6C97}"/>
          </ac:spMkLst>
        </pc:spChg>
        <pc:spChg chg="add mod">
          <ac:chgData name="Caio Oriente Pereira" userId="cf0d9a0a-e124-4c03-aa21-7658adfbd4b5" providerId="ADAL" clId="{75441B16-FE08-4556-BAC4-BFB7AB5FC131}" dt="2023-10-04T15:38:46.754" v="3371" actId="1076"/>
          <ac:spMkLst>
            <pc:docMk/>
            <pc:sldMk cId="2008892223" sldId="2146850138"/>
            <ac:spMk id="4" creationId="{AB790D9A-52D6-45AE-2EDA-96EFFC13C098}"/>
          </ac:spMkLst>
        </pc:spChg>
        <pc:spChg chg="mod">
          <ac:chgData name="Caio Oriente Pereira" userId="cf0d9a0a-e124-4c03-aa21-7658adfbd4b5" providerId="ADAL" clId="{75441B16-FE08-4556-BAC4-BFB7AB5FC131}" dt="2023-10-04T13:59:47.357" v="2340" actId="552"/>
          <ac:spMkLst>
            <pc:docMk/>
            <pc:sldMk cId="2008892223" sldId="2146850138"/>
            <ac:spMk id="6" creationId="{96F6DDEE-A7FC-C898-1829-9FB6E3A54B56}"/>
          </ac:spMkLst>
        </pc:spChg>
        <pc:spChg chg="mod">
          <ac:chgData name="Caio Oriente Pereira" userId="cf0d9a0a-e124-4c03-aa21-7658adfbd4b5" providerId="ADAL" clId="{75441B16-FE08-4556-BAC4-BFB7AB5FC131}" dt="2023-10-04T14:00:04.386" v="2342" actId="1076"/>
          <ac:spMkLst>
            <pc:docMk/>
            <pc:sldMk cId="2008892223" sldId="2146850138"/>
            <ac:spMk id="8" creationId="{FD6D873A-AFE8-D8C4-9D46-12953B24CB33}"/>
          </ac:spMkLst>
        </pc:spChg>
        <pc:spChg chg="mod">
          <ac:chgData name="Caio Oriente Pereira" userId="cf0d9a0a-e124-4c03-aa21-7658adfbd4b5" providerId="ADAL" clId="{75441B16-FE08-4556-BAC4-BFB7AB5FC131}" dt="2023-10-04T13:59:47.313" v="2339" actId="1076"/>
          <ac:spMkLst>
            <pc:docMk/>
            <pc:sldMk cId="2008892223" sldId="2146850138"/>
            <ac:spMk id="11" creationId="{410EEE0D-72BB-228B-08F8-C5BEE30E9AAC}"/>
          </ac:spMkLst>
        </pc:spChg>
        <pc:spChg chg="mod">
          <ac:chgData name="Caio Oriente Pereira" userId="cf0d9a0a-e124-4c03-aa21-7658adfbd4b5" providerId="ADAL" clId="{75441B16-FE08-4556-BAC4-BFB7AB5FC131}" dt="2023-10-04T13:59:47.313" v="2339" actId="1076"/>
          <ac:spMkLst>
            <pc:docMk/>
            <pc:sldMk cId="2008892223" sldId="2146850138"/>
            <ac:spMk id="12" creationId="{BDF677BE-C953-4401-6FCD-DD6D021F61FC}"/>
          </ac:spMkLst>
        </pc:spChg>
        <pc:spChg chg="mod">
          <ac:chgData name="Caio Oriente Pereira" userId="cf0d9a0a-e124-4c03-aa21-7658adfbd4b5" providerId="ADAL" clId="{75441B16-FE08-4556-BAC4-BFB7AB5FC131}" dt="2023-10-04T13:59:47.313" v="2339" actId="1076"/>
          <ac:spMkLst>
            <pc:docMk/>
            <pc:sldMk cId="2008892223" sldId="2146850138"/>
            <ac:spMk id="13" creationId="{B862BAE9-21AB-5BA9-FBCD-66883072AF48}"/>
          </ac:spMkLst>
        </pc:spChg>
        <pc:spChg chg="mod">
          <ac:chgData name="Caio Oriente Pereira" userId="cf0d9a0a-e124-4c03-aa21-7658adfbd4b5" providerId="ADAL" clId="{75441B16-FE08-4556-BAC4-BFB7AB5FC131}" dt="2023-10-04T13:59:47.313" v="2339" actId="1076"/>
          <ac:spMkLst>
            <pc:docMk/>
            <pc:sldMk cId="2008892223" sldId="2146850138"/>
            <ac:spMk id="15" creationId="{FFB41909-806D-BE1C-F8B8-3D38B685F43C}"/>
          </ac:spMkLst>
        </pc:spChg>
        <pc:spChg chg="mod">
          <ac:chgData name="Caio Oriente Pereira" userId="cf0d9a0a-e124-4c03-aa21-7658adfbd4b5" providerId="ADAL" clId="{75441B16-FE08-4556-BAC4-BFB7AB5FC131}" dt="2023-10-04T13:59:47.313" v="2339" actId="1076"/>
          <ac:spMkLst>
            <pc:docMk/>
            <pc:sldMk cId="2008892223" sldId="2146850138"/>
            <ac:spMk id="16" creationId="{466D1210-2F24-C7C8-E590-68CDF240F876}"/>
          </ac:spMkLst>
        </pc:spChg>
        <pc:cxnChg chg="mod">
          <ac:chgData name="Caio Oriente Pereira" userId="cf0d9a0a-e124-4c03-aa21-7658adfbd4b5" providerId="ADAL" clId="{75441B16-FE08-4556-BAC4-BFB7AB5FC131}" dt="2023-10-04T13:59:47.357" v="2340" actId="552"/>
          <ac:cxnSpMkLst>
            <pc:docMk/>
            <pc:sldMk cId="2008892223" sldId="2146850138"/>
            <ac:cxnSpMk id="5" creationId="{DF49C8D3-B917-4BE4-FA4A-937D45F263CA}"/>
          </ac:cxnSpMkLst>
        </pc:cxnChg>
        <pc:cxnChg chg="mod">
          <ac:chgData name="Caio Oriente Pereira" userId="cf0d9a0a-e124-4c03-aa21-7658adfbd4b5" providerId="ADAL" clId="{75441B16-FE08-4556-BAC4-BFB7AB5FC131}" dt="2023-10-04T13:59:53.828" v="2341" actId="1076"/>
          <ac:cxnSpMkLst>
            <pc:docMk/>
            <pc:sldMk cId="2008892223" sldId="2146850138"/>
            <ac:cxnSpMk id="7" creationId="{D2640B7C-50CD-CABA-7369-AA15960A7855}"/>
          </ac:cxnSpMkLst>
        </pc:cxnChg>
        <pc:cxnChg chg="mod">
          <ac:chgData name="Caio Oriente Pereira" userId="cf0d9a0a-e124-4c03-aa21-7658adfbd4b5" providerId="ADAL" clId="{75441B16-FE08-4556-BAC4-BFB7AB5FC131}" dt="2023-10-04T14:00:04.386" v="2342" actId="1076"/>
          <ac:cxnSpMkLst>
            <pc:docMk/>
            <pc:sldMk cId="2008892223" sldId="2146850138"/>
            <ac:cxnSpMk id="9" creationId="{B6A9EE04-9525-AF46-FDED-A40F402B995B}"/>
          </ac:cxnSpMkLst>
        </pc:cxnChg>
      </pc:sldChg>
      <pc:sldChg chg="addSp delSp modSp add mod modTransition modShow">
        <pc:chgData name="Caio Oriente Pereira" userId="cf0d9a0a-e124-4c03-aa21-7658adfbd4b5" providerId="ADAL" clId="{75441B16-FE08-4556-BAC4-BFB7AB5FC131}" dt="2023-10-05T18:27:16.976" v="3468"/>
        <pc:sldMkLst>
          <pc:docMk/>
          <pc:sldMk cId="866997976" sldId="2146850139"/>
        </pc:sldMkLst>
        <pc:spChg chg="mod">
          <ac:chgData name="Caio Oriente Pereira" userId="cf0d9a0a-e124-4c03-aa21-7658adfbd4b5" providerId="ADAL" clId="{75441B16-FE08-4556-BAC4-BFB7AB5FC131}" dt="2023-10-04T14:09:32.670" v="2356" actId="14100"/>
          <ac:spMkLst>
            <pc:docMk/>
            <pc:sldMk cId="866997976" sldId="2146850139"/>
            <ac:spMk id="2" creationId="{6B66F335-8E69-C31F-24CA-A21A4D57FEEA}"/>
          </ac:spMkLst>
        </pc:spChg>
        <pc:spChg chg="mod">
          <ac:chgData name="Caio Oriente Pereira" userId="cf0d9a0a-e124-4c03-aa21-7658adfbd4b5" providerId="ADAL" clId="{75441B16-FE08-4556-BAC4-BFB7AB5FC131}" dt="2023-10-03T21:05:02.975" v="1850" actId="20577"/>
          <ac:spMkLst>
            <pc:docMk/>
            <pc:sldMk cId="866997976" sldId="2146850139"/>
            <ac:spMk id="3" creationId="{305507F4-E351-B93B-BD52-A2DD35DA6C97}"/>
          </ac:spMkLst>
        </pc:spChg>
        <pc:spChg chg="del mod">
          <ac:chgData name="Caio Oriente Pereira" userId="cf0d9a0a-e124-4c03-aa21-7658adfbd4b5" providerId="ADAL" clId="{75441B16-FE08-4556-BAC4-BFB7AB5FC131}" dt="2023-10-04T14:26:04.313" v="2449" actId="478"/>
          <ac:spMkLst>
            <pc:docMk/>
            <pc:sldMk cId="866997976" sldId="2146850139"/>
            <ac:spMk id="4" creationId="{2B174AD6-789C-64FB-7D83-4515008344A5}"/>
          </ac:spMkLst>
        </pc:spChg>
        <pc:spChg chg="add mod">
          <ac:chgData name="Caio Oriente Pereira" userId="cf0d9a0a-e124-4c03-aa21-7658adfbd4b5" providerId="ADAL" clId="{75441B16-FE08-4556-BAC4-BFB7AB5FC131}" dt="2023-10-04T15:27:03.132" v="2998" actId="20577"/>
          <ac:spMkLst>
            <pc:docMk/>
            <pc:sldMk cId="866997976" sldId="2146850139"/>
            <ac:spMk id="5" creationId="{FA37774B-6F05-4F38-D57A-B971F6E3F5BF}"/>
          </ac:spMkLst>
        </pc:spChg>
      </pc:sldChg>
      <pc:sldChg chg="addSp delSp modSp mod ord">
        <pc:chgData name="Caio Oriente Pereira" userId="cf0d9a0a-e124-4c03-aa21-7658adfbd4b5" providerId="ADAL" clId="{75441B16-FE08-4556-BAC4-BFB7AB5FC131}" dt="2023-10-04T15:31:00.380" v="3016" actId="6549"/>
        <pc:sldMkLst>
          <pc:docMk/>
          <pc:sldMk cId="1257880263" sldId="2146850140"/>
        </pc:sldMkLst>
        <pc:spChg chg="add mod">
          <ac:chgData name="Caio Oriente Pereira" userId="cf0d9a0a-e124-4c03-aa21-7658adfbd4b5" providerId="ADAL" clId="{75441B16-FE08-4556-BAC4-BFB7AB5FC131}" dt="2023-10-04T15:31:00.380" v="3016" actId="6549"/>
          <ac:spMkLst>
            <pc:docMk/>
            <pc:sldMk cId="1257880263" sldId="2146850140"/>
            <ac:spMk id="2" creationId="{20ECD485-5DC7-EBF6-9010-03CA4B1163CB}"/>
          </ac:spMkLst>
        </pc:spChg>
        <pc:spChg chg="del mod">
          <ac:chgData name="Caio Oriente Pereira" userId="cf0d9a0a-e124-4c03-aa21-7658adfbd4b5" providerId="ADAL" clId="{75441B16-FE08-4556-BAC4-BFB7AB5FC131}" dt="2023-10-04T14:29:17.020" v="2508" actId="478"/>
          <ac:spMkLst>
            <pc:docMk/>
            <pc:sldMk cId="1257880263" sldId="2146850140"/>
            <ac:spMk id="44" creationId="{97E8236F-48F1-6DBE-6969-3676A32C1647}"/>
          </ac:spMkLst>
        </pc:spChg>
        <pc:graphicFrameChg chg="mod">
          <ac:chgData name="Caio Oriente Pereira" userId="cf0d9a0a-e124-4c03-aa21-7658adfbd4b5" providerId="ADAL" clId="{75441B16-FE08-4556-BAC4-BFB7AB5FC131}" dt="2023-10-04T14:32:30.458" v="2551"/>
          <ac:graphicFrameMkLst>
            <pc:docMk/>
            <pc:sldMk cId="1257880263" sldId="2146850140"/>
            <ac:graphicFrameMk id="5" creationId="{221CBF22-DFAE-921F-3315-40C791EADFB4}"/>
          </ac:graphicFrameMkLst>
        </pc:graphicFrameChg>
      </pc:sldChg>
      <pc:sldChg chg="addSp delSp modSp mod">
        <pc:chgData name="Caio Oriente Pereira" userId="cf0d9a0a-e124-4c03-aa21-7658adfbd4b5" providerId="ADAL" clId="{75441B16-FE08-4556-BAC4-BFB7AB5FC131}" dt="2023-10-04T15:27:06.511" v="3000" actId="20577"/>
        <pc:sldMkLst>
          <pc:docMk/>
          <pc:sldMk cId="2960977107" sldId="2146850141"/>
        </pc:sldMkLst>
        <pc:spChg chg="del">
          <ac:chgData name="Caio Oriente Pereira" userId="cf0d9a0a-e124-4c03-aa21-7658adfbd4b5" providerId="ADAL" clId="{75441B16-FE08-4556-BAC4-BFB7AB5FC131}" dt="2023-10-04T13:48:55.330" v="2303" actId="478"/>
          <ac:spMkLst>
            <pc:docMk/>
            <pc:sldMk cId="2960977107" sldId="2146850141"/>
            <ac:spMk id="2" creationId="{6B66F335-8E69-C31F-24CA-A21A4D57FEEA}"/>
          </ac:spMkLst>
        </pc:spChg>
        <pc:spChg chg="del mod">
          <ac:chgData name="Caio Oriente Pereira" userId="cf0d9a0a-e124-4c03-aa21-7658adfbd4b5" providerId="ADAL" clId="{75441B16-FE08-4556-BAC4-BFB7AB5FC131}" dt="2023-10-04T14:27:05.710" v="2453" actId="478"/>
          <ac:spMkLst>
            <pc:docMk/>
            <pc:sldMk cId="2960977107" sldId="2146850141"/>
            <ac:spMk id="4" creationId="{2B174AD6-789C-64FB-7D83-4515008344A5}"/>
          </ac:spMkLst>
        </pc:spChg>
        <pc:spChg chg="add mod">
          <ac:chgData name="Caio Oriente Pereira" userId="cf0d9a0a-e124-4c03-aa21-7658adfbd4b5" providerId="ADAL" clId="{75441B16-FE08-4556-BAC4-BFB7AB5FC131}" dt="2023-10-04T14:09:25.767" v="2355" actId="14100"/>
          <ac:spMkLst>
            <pc:docMk/>
            <pc:sldMk cId="2960977107" sldId="2146850141"/>
            <ac:spMk id="5" creationId="{2969CA83-B905-6451-F1A3-D7CEC8A5DA78}"/>
          </ac:spMkLst>
        </pc:spChg>
        <pc:spChg chg="add mod">
          <ac:chgData name="Caio Oriente Pereira" userId="cf0d9a0a-e124-4c03-aa21-7658adfbd4b5" providerId="ADAL" clId="{75441B16-FE08-4556-BAC4-BFB7AB5FC131}" dt="2023-10-04T15:27:06.511" v="3000" actId="20577"/>
          <ac:spMkLst>
            <pc:docMk/>
            <pc:sldMk cId="2960977107" sldId="2146850141"/>
            <ac:spMk id="6" creationId="{83FCE5BD-EDA6-3BFF-12FD-E59FA90E63DB}"/>
          </ac:spMkLst>
        </pc:spChg>
        <pc:grpChg chg="mod">
          <ac:chgData name="Caio Oriente Pereira" userId="cf0d9a0a-e124-4c03-aa21-7658adfbd4b5" providerId="ADAL" clId="{75441B16-FE08-4556-BAC4-BFB7AB5FC131}" dt="2023-10-04T13:49:39.181" v="2319" actId="1036"/>
          <ac:grpSpMkLst>
            <pc:docMk/>
            <pc:sldMk cId="2960977107" sldId="2146850141"/>
            <ac:grpSpMk id="18" creationId="{9D3434BF-307A-D4F3-51F9-FC73B36532B0}"/>
          </ac:grpSpMkLst>
        </pc:grpChg>
      </pc:sldChg>
      <pc:sldChg chg="addSp delSp modSp mod modTransition modShow">
        <pc:chgData name="Caio Oriente Pereira" userId="cf0d9a0a-e124-4c03-aa21-7658adfbd4b5" providerId="ADAL" clId="{75441B16-FE08-4556-BAC4-BFB7AB5FC131}" dt="2023-10-05T18:27:19.585" v="3470"/>
        <pc:sldMkLst>
          <pc:docMk/>
          <pc:sldMk cId="3957329574" sldId="2146850142"/>
        </pc:sldMkLst>
        <pc:spChg chg="add del mod">
          <ac:chgData name="Caio Oriente Pereira" userId="cf0d9a0a-e124-4c03-aa21-7658adfbd4b5" providerId="ADAL" clId="{75441B16-FE08-4556-BAC4-BFB7AB5FC131}" dt="2023-10-04T14:27:26.840" v="2456"/>
          <ac:spMkLst>
            <pc:docMk/>
            <pc:sldMk cId="3957329574" sldId="2146850142"/>
            <ac:spMk id="2" creationId="{E3B699E9-5B9F-54D2-363D-2200B0F1AC68}"/>
          </ac:spMkLst>
        </pc:spChg>
        <pc:spChg chg="add mod">
          <ac:chgData name="Caio Oriente Pereira" userId="cf0d9a0a-e124-4c03-aa21-7658adfbd4b5" providerId="ADAL" clId="{75441B16-FE08-4556-BAC4-BFB7AB5FC131}" dt="2023-10-04T15:30:56.737" v="3015" actId="6549"/>
          <ac:spMkLst>
            <pc:docMk/>
            <pc:sldMk cId="3957329574" sldId="2146850142"/>
            <ac:spMk id="4" creationId="{684FDC8D-D96F-0A56-4968-F73BA97389C0}"/>
          </ac:spMkLst>
        </pc:spChg>
        <pc:spChg chg="del mod">
          <ac:chgData name="Caio Oriente Pereira" userId="cf0d9a0a-e124-4c03-aa21-7658adfbd4b5" providerId="ADAL" clId="{75441B16-FE08-4556-BAC4-BFB7AB5FC131}" dt="2023-10-04T14:27:33.189" v="2459" actId="478"/>
          <ac:spMkLst>
            <pc:docMk/>
            <pc:sldMk cId="3957329574" sldId="2146850142"/>
            <ac:spMk id="44" creationId="{97E8236F-48F1-6DBE-6969-3676A32C1647}"/>
          </ac:spMkLst>
        </pc:spChg>
      </pc:sldChg>
      <pc:sldChg chg="addSp delSp modSp add del mod">
        <pc:chgData name="Caio Oriente Pereira" userId="cf0d9a0a-e124-4c03-aa21-7658adfbd4b5" providerId="ADAL" clId="{75441B16-FE08-4556-BAC4-BFB7AB5FC131}" dt="2023-10-05T18:25:38.250" v="3464" actId="47"/>
        <pc:sldMkLst>
          <pc:docMk/>
          <pc:sldMk cId="376028395" sldId="2146850143"/>
        </pc:sldMkLst>
        <pc:spChg chg="mod">
          <ac:chgData name="Caio Oriente Pereira" userId="cf0d9a0a-e124-4c03-aa21-7658adfbd4b5" providerId="ADAL" clId="{75441B16-FE08-4556-BAC4-BFB7AB5FC131}" dt="2023-10-04T13:42:46.805" v="2241"/>
          <ac:spMkLst>
            <pc:docMk/>
            <pc:sldMk cId="376028395" sldId="2146850143"/>
            <ac:spMk id="5" creationId="{88AC1CFD-53D8-C10A-3E09-C8D7936B0C30}"/>
          </ac:spMkLst>
        </pc:spChg>
        <pc:spChg chg="mod">
          <ac:chgData name="Caio Oriente Pereira" userId="cf0d9a0a-e124-4c03-aa21-7658adfbd4b5" providerId="ADAL" clId="{75441B16-FE08-4556-BAC4-BFB7AB5FC131}" dt="2023-10-04T13:42:46.805" v="2241"/>
          <ac:spMkLst>
            <pc:docMk/>
            <pc:sldMk cId="376028395" sldId="2146850143"/>
            <ac:spMk id="7" creationId="{B4CED089-705D-DCA1-FB36-69ABF7922422}"/>
          </ac:spMkLst>
        </pc:spChg>
        <pc:spChg chg="mod">
          <ac:chgData name="Caio Oriente Pereira" userId="cf0d9a0a-e124-4c03-aa21-7658adfbd4b5" providerId="ADAL" clId="{75441B16-FE08-4556-BAC4-BFB7AB5FC131}" dt="2023-10-04T13:42:46.805" v="2241"/>
          <ac:spMkLst>
            <pc:docMk/>
            <pc:sldMk cId="376028395" sldId="2146850143"/>
            <ac:spMk id="8" creationId="{058BAA7E-3B06-CAE1-7F29-FB29E5FE7DAA}"/>
          </ac:spMkLst>
        </pc:spChg>
        <pc:spChg chg="mod">
          <ac:chgData name="Caio Oriente Pereira" userId="cf0d9a0a-e124-4c03-aa21-7658adfbd4b5" providerId="ADAL" clId="{75441B16-FE08-4556-BAC4-BFB7AB5FC131}" dt="2023-10-04T13:42:46.805" v="2241"/>
          <ac:spMkLst>
            <pc:docMk/>
            <pc:sldMk cId="376028395" sldId="2146850143"/>
            <ac:spMk id="9" creationId="{173B5620-6A3E-3A6A-910B-76AA0A517F15}"/>
          </ac:spMkLst>
        </pc:spChg>
        <pc:spChg chg="mod">
          <ac:chgData name="Caio Oriente Pereira" userId="cf0d9a0a-e124-4c03-aa21-7658adfbd4b5" providerId="ADAL" clId="{75441B16-FE08-4556-BAC4-BFB7AB5FC131}" dt="2023-10-04T13:42:46.805" v="2241"/>
          <ac:spMkLst>
            <pc:docMk/>
            <pc:sldMk cId="376028395" sldId="2146850143"/>
            <ac:spMk id="10" creationId="{ED006E97-903D-C853-0875-A6E5379BC783}"/>
          </ac:spMkLst>
        </pc:spChg>
        <pc:spChg chg="mod">
          <ac:chgData name="Caio Oriente Pereira" userId="cf0d9a0a-e124-4c03-aa21-7658adfbd4b5" providerId="ADAL" clId="{75441B16-FE08-4556-BAC4-BFB7AB5FC131}" dt="2023-10-04T13:42:46.805" v="2241"/>
          <ac:spMkLst>
            <pc:docMk/>
            <pc:sldMk cId="376028395" sldId="2146850143"/>
            <ac:spMk id="11" creationId="{09256BE7-B874-36DF-F583-360732CDCC72}"/>
          </ac:spMkLst>
        </pc:spChg>
        <pc:spChg chg="mod">
          <ac:chgData name="Caio Oriente Pereira" userId="cf0d9a0a-e124-4c03-aa21-7658adfbd4b5" providerId="ADAL" clId="{75441B16-FE08-4556-BAC4-BFB7AB5FC131}" dt="2023-10-04T13:42:46.805" v="2241"/>
          <ac:spMkLst>
            <pc:docMk/>
            <pc:sldMk cId="376028395" sldId="2146850143"/>
            <ac:spMk id="12" creationId="{41D238C0-D14A-AD50-CA48-EA2EA3471688}"/>
          </ac:spMkLst>
        </pc:spChg>
        <pc:spChg chg="mod">
          <ac:chgData name="Caio Oriente Pereira" userId="cf0d9a0a-e124-4c03-aa21-7658adfbd4b5" providerId="ADAL" clId="{75441B16-FE08-4556-BAC4-BFB7AB5FC131}" dt="2023-10-04T13:43:10.355" v="2251" actId="1035"/>
          <ac:spMkLst>
            <pc:docMk/>
            <pc:sldMk cId="376028395" sldId="2146850143"/>
            <ac:spMk id="15" creationId="{D4DDAF96-F9A1-C3AA-A474-8C60198FB968}"/>
          </ac:spMkLst>
        </pc:spChg>
        <pc:spChg chg="mod">
          <ac:chgData name="Caio Oriente Pereira" userId="cf0d9a0a-e124-4c03-aa21-7658adfbd4b5" providerId="ADAL" clId="{75441B16-FE08-4556-BAC4-BFB7AB5FC131}" dt="2023-10-04T13:43:16.231" v="2255"/>
          <ac:spMkLst>
            <pc:docMk/>
            <pc:sldMk cId="376028395" sldId="2146850143"/>
            <ac:spMk id="16" creationId="{ED1B3939-4A5C-F814-B8E3-724851017C32}"/>
          </ac:spMkLst>
        </pc:spChg>
        <pc:spChg chg="mod">
          <ac:chgData name="Caio Oriente Pereira" userId="cf0d9a0a-e124-4c03-aa21-7658adfbd4b5" providerId="ADAL" clId="{75441B16-FE08-4556-BAC4-BFB7AB5FC131}" dt="2023-10-04T13:43:16.231" v="2255"/>
          <ac:spMkLst>
            <pc:docMk/>
            <pc:sldMk cId="376028395" sldId="2146850143"/>
            <ac:spMk id="18" creationId="{BFCEC91B-085F-551B-5C44-620B3532696E}"/>
          </ac:spMkLst>
        </pc:spChg>
        <pc:spChg chg="mod">
          <ac:chgData name="Caio Oriente Pereira" userId="cf0d9a0a-e124-4c03-aa21-7658adfbd4b5" providerId="ADAL" clId="{75441B16-FE08-4556-BAC4-BFB7AB5FC131}" dt="2023-10-04T13:43:16.231" v="2255"/>
          <ac:spMkLst>
            <pc:docMk/>
            <pc:sldMk cId="376028395" sldId="2146850143"/>
            <ac:spMk id="20" creationId="{A9D23BAD-D114-9E4F-2AF9-FD4CB59E1943}"/>
          </ac:spMkLst>
        </pc:spChg>
        <pc:spChg chg="mod">
          <ac:chgData name="Caio Oriente Pereira" userId="cf0d9a0a-e124-4c03-aa21-7658adfbd4b5" providerId="ADAL" clId="{75441B16-FE08-4556-BAC4-BFB7AB5FC131}" dt="2023-10-04T13:43:16.231" v="2255"/>
          <ac:spMkLst>
            <pc:docMk/>
            <pc:sldMk cId="376028395" sldId="2146850143"/>
            <ac:spMk id="21" creationId="{ADBC2099-6DBA-8959-ABF4-4D388A3C60A0}"/>
          </ac:spMkLst>
        </pc:spChg>
        <pc:spChg chg="mod">
          <ac:chgData name="Caio Oriente Pereira" userId="cf0d9a0a-e124-4c03-aa21-7658adfbd4b5" providerId="ADAL" clId="{75441B16-FE08-4556-BAC4-BFB7AB5FC131}" dt="2023-10-04T13:43:16.231" v="2255"/>
          <ac:spMkLst>
            <pc:docMk/>
            <pc:sldMk cId="376028395" sldId="2146850143"/>
            <ac:spMk id="22" creationId="{ACDB4632-DB3A-6AB1-DB16-DF7681FE5B8B}"/>
          </ac:spMkLst>
        </pc:spChg>
        <pc:spChg chg="mod">
          <ac:chgData name="Caio Oriente Pereira" userId="cf0d9a0a-e124-4c03-aa21-7658adfbd4b5" providerId="ADAL" clId="{75441B16-FE08-4556-BAC4-BFB7AB5FC131}" dt="2023-10-04T13:43:16.231" v="2255"/>
          <ac:spMkLst>
            <pc:docMk/>
            <pc:sldMk cId="376028395" sldId="2146850143"/>
            <ac:spMk id="24" creationId="{53589A30-CC4E-5103-1B32-D618806A5655}"/>
          </ac:spMkLst>
        </pc:spChg>
        <pc:spChg chg="mod">
          <ac:chgData name="Caio Oriente Pereira" userId="cf0d9a0a-e124-4c03-aa21-7658adfbd4b5" providerId="ADAL" clId="{75441B16-FE08-4556-BAC4-BFB7AB5FC131}" dt="2023-10-04T13:43:16.231" v="2255"/>
          <ac:spMkLst>
            <pc:docMk/>
            <pc:sldMk cId="376028395" sldId="2146850143"/>
            <ac:spMk id="25" creationId="{9E7E430F-9032-0FDB-DD43-AF821D887A22}"/>
          </ac:spMkLst>
        </pc:spChg>
        <pc:grpChg chg="add del mod">
          <ac:chgData name="Caio Oriente Pereira" userId="cf0d9a0a-e124-4c03-aa21-7658adfbd4b5" providerId="ADAL" clId="{75441B16-FE08-4556-BAC4-BFB7AB5FC131}" dt="2023-10-04T13:43:07.602" v="2248" actId="478"/>
          <ac:grpSpMkLst>
            <pc:docMk/>
            <pc:sldMk cId="376028395" sldId="2146850143"/>
            <ac:grpSpMk id="4" creationId="{5A59EDAF-C7BC-DA85-30F9-240C28CB11C9}"/>
          </ac:grpSpMkLst>
        </pc:grpChg>
        <pc:grpChg chg="mod">
          <ac:chgData name="Caio Oriente Pereira" userId="cf0d9a0a-e124-4c03-aa21-7658adfbd4b5" providerId="ADAL" clId="{75441B16-FE08-4556-BAC4-BFB7AB5FC131}" dt="2023-10-04T13:42:46.805" v="2241"/>
          <ac:grpSpMkLst>
            <pc:docMk/>
            <pc:sldMk cId="376028395" sldId="2146850143"/>
            <ac:grpSpMk id="6" creationId="{05DA8DE7-9D8C-9FE3-7A8F-A1401914E676}"/>
          </ac:grpSpMkLst>
        </pc:grpChg>
        <pc:grpChg chg="add del mod">
          <ac:chgData name="Caio Oriente Pereira" userId="cf0d9a0a-e124-4c03-aa21-7658adfbd4b5" providerId="ADAL" clId="{75441B16-FE08-4556-BAC4-BFB7AB5FC131}" dt="2023-10-05T18:24:47.499" v="3462" actId="478"/>
          <ac:grpSpMkLst>
            <pc:docMk/>
            <pc:sldMk cId="376028395" sldId="2146850143"/>
            <ac:grpSpMk id="13" creationId="{89286ED7-0399-2206-FEB4-EA86DBF783F7}"/>
          </ac:grpSpMkLst>
        </pc:grpChg>
        <pc:grpChg chg="mod">
          <ac:chgData name="Caio Oriente Pereira" userId="cf0d9a0a-e124-4c03-aa21-7658adfbd4b5" providerId="ADAL" clId="{75441B16-FE08-4556-BAC4-BFB7AB5FC131}" dt="2023-10-04T13:43:16.231" v="2255"/>
          <ac:grpSpMkLst>
            <pc:docMk/>
            <pc:sldMk cId="376028395" sldId="2146850143"/>
            <ac:grpSpMk id="17" creationId="{8932715B-DCC6-5DEF-A4CB-3E3D3C256FF5}"/>
          </ac:grpSpMkLst>
        </pc:grpChg>
        <pc:picChg chg="mod">
          <ac:chgData name="Caio Oriente Pereira" userId="cf0d9a0a-e124-4c03-aa21-7658adfbd4b5" providerId="ADAL" clId="{75441B16-FE08-4556-BAC4-BFB7AB5FC131}" dt="2023-10-04T13:43:12.552" v="2254" actId="1035"/>
          <ac:picMkLst>
            <pc:docMk/>
            <pc:sldMk cId="376028395" sldId="2146850143"/>
            <ac:picMk id="23" creationId="{8E2A8B12-C7D8-92BA-58B3-012A57A097E0}"/>
          </ac:picMkLst>
        </pc:picChg>
      </pc:sldChg>
      <pc:sldChg chg="del ord">
        <pc:chgData name="Caio Oriente Pereira" userId="cf0d9a0a-e124-4c03-aa21-7658adfbd4b5" providerId="ADAL" clId="{75441B16-FE08-4556-BAC4-BFB7AB5FC131}" dt="2023-10-04T15:33:02.692" v="3018" actId="47"/>
        <pc:sldMkLst>
          <pc:docMk/>
          <pc:sldMk cId="1525579019" sldId="2146850144"/>
        </pc:sldMkLst>
      </pc:sldChg>
      <pc:sldChg chg="add del">
        <pc:chgData name="Caio Oriente Pereira" userId="cf0d9a0a-e124-4c03-aa21-7658adfbd4b5" providerId="ADAL" clId="{75441B16-FE08-4556-BAC4-BFB7AB5FC131}" dt="2023-10-04T14:42:58.012" v="2865" actId="47"/>
        <pc:sldMkLst>
          <pc:docMk/>
          <pc:sldMk cId="1955894480" sldId="2146850145"/>
        </pc:sldMkLst>
      </pc:sldChg>
      <pc:sldChg chg="addSp delSp modSp add mod modTransition modShow">
        <pc:chgData name="Caio Oriente Pereira" userId="cf0d9a0a-e124-4c03-aa21-7658adfbd4b5" providerId="ADAL" clId="{75441B16-FE08-4556-BAC4-BFB7AB5FC131}" dt="2023-10-05T18:26:56.918" v="3466"/>
        <pc:sldMkLst>
          <pc:docMk/>
          <pc:sldMk cId="2739843157" sldId="2146850145"/>
        </pc:sldMkLst>
        <pc:spChg chg="del">
          <ac:chgData name="Caio Oriente Pereira" userId="cf0d9a0a-e124-4c03-aa21-7658adfbd4b5" providerId="ADAL" clId="{75441B16-FE08-4556-BAC4-BFB7AB5FC131}" dt="2023-10-04T14:57:17.182" v="2905" actId="478"/>
          <ac:spMkLst>
            <pc:docMk/>
            <pc:sldMk cId="2739843157" sldId="2146850145"/>
            <ac:spMk id="26" creationId="{FCF424D3-43DF-BDEB-E42C-C87F31B4549A}"/>
          </ac:spMkLst>
        </pc:spChg>
        <pc:spChg chg="del">
          <ac:chgData name="Caio Oriente Pereira" userId="cf0d9a0a-e124-4c03-aa21-7658adfbd4b5" providerId="ADAL" clId="{75441B16-FE08-4556-BAC4-BFB7AB5FC131}" dt="2023-10-04T14:57:15.147" v="2904" actId="478"/>
          <ac:spMkLst>
            <pc:docMk/>
            <pc:sldMk cId="2739843157" sldId="2146850145"/>
            <ac:spMk id="31" creationId="{016FE7A1-0160-682E-AF52-145EC08FB93C}"/>
          </ac:spMkLst>
        </pc:spChg>
        <pc:spChg chg="del">
          <ac:chgData name="Caio Oriente Pereira" userId="cf0d9a0a-e124-4c03-aa21-7658adfbd4b5" providerId="ADAL" clId="{75441B16-FE08-4556-BAC4-BFB7AB5FC131}" dt="2023-10-04T14:57:19.107" v="2906" actId="478"/>
          <ac:spMkLst>
            <pc:docMk/>
            <pc:sldMk cId="2739843157" sldId="2146850145"/>
            <ac:spMk id="32" creationId="{F54493DD-AF47-C13C-26C8-EE52F40EA903}"/>
          </ac:spMkLst>
        </pc:spChg>
        <pc:spChg chg="del">
          <ac:chgData name="Caio Oriente Pereira" userId="cf0d9a0a-e124-4c03-aa21-7658adfbd4b5" providerId="ADAL" clId="{75441B16-FE08-4556-BAC4-BFB7AB5FC131}" dt="2023-10-04T14:57:12.372" v="2903" actId="478"/>
          <ac:spMkLst>
            <pc:docMk/>
            <pc:sldMk cId="2739843157" sldId="2146850145"/>
            <ac:spMk id="33" creationId="{81B85B92-AA82-082D-18CB-1FE897DCF7B8}"/>
          </ac:spMkLst>
        </pc:spChg>
        <pc:cxnChg chg="add del mod">
          <ac:chgData name="Caio Oriente Pereira" userId="cf0d9a0a-e124-4c03-aa21-7658adfbd4b5" providerId="ADAL" clId="{75441B16-FE08-4556-BAC4-BFB7AB5FC131}" dt="2023-10-04T14:58:01.675" v="2912" actId="14100"/>
          <ac:cxnSpMkLst>
            <pc:docMk/>
            <pc:sldMk cId="2739843157" sldId="2146850145"/>
            <ac:cxnSpMk id="17" creationId="{25BF333A-7183-C09A-A162-C0D359580EEB}"/>
          </ac:cxnSpMkLst>
        </pc:cxnChg>
      </pc:sldChg>
      <pc:sldChg chg="add del">
        <pc:chgData name="Caio Oriente Pereira" userId="cf0d9a0a-e124-4c03-aa21-7658adfbd4b5" providerId="ADAL" clId="{75441B16-FE08-4556-BAC4-BFB7AB5FC131}" dt="2023-10-04T14:29:21.160" v="2510" actId="47"/>
        <pc:sldMkLst>
          <pc:docMk/>
          <pc:sldMk cId="3907331703" sldId="2146850145"/>
        </pc:sldMkLst>
      </pc:sldChg>
      <pc:sldChg chg="addSp delSp modSp add del mod">
        <pc:chgData name="Caio Oriente Pereira" userId="cf0d9a0a-e124-4c03-aa21-7658adfbd4b5" providerId="ADAL" clId="{75441B16-FE08-4556-BAC4-BFB7AB5FC131}" dt="2023-10-04T15:37:56.859" v="3353" actId="2890"/>
        <pc:sldMkLst>
          <pc:docMk/>
          <pc:sldMk cId="3279257365" sldId="2146850146"/>
        </pc:sldMkLst>
        <pc:spChg chg="add del">
          <ac:chgData name="Caio Oriente Pereira" userId="cf0d9a0a-e124-4c03-aa21-7658adfbd4b5" providerId="ADAL" clId="{75441B16-FE08-4556-BAC4-BFB7AB5FC131}" dt="2023-10-04T15:37:55.243" v="3352" actId="478"/>
          <ac:spMkLst>
            <pc:docMk/>
            <pc:sldMk cId="3279257365" sldId="2146850146"/>
            <ac:spMk id="2" creationId="{6B66F335-8E69-C31F-24CA-A21A4D57FEEA}"/>
          </ac:spMkLst>
        </pc:spChg>
        <pc:spChg chg="mod ord">
          <ac:chgData name="Caio Oriente Pereira" userId="cf0d9a0a-e124-4c03-aa21-7658adfbd4b5" providerId="ADAL" clId="{75441B16-FE08-4556-BAC4-BFB7AB5FC131}" dt="2023-10-04T15:34:48.435" v="3328"/>
          <ac:spMkLst>
            <pc:docMk/>
            <pc:sldMk cId="3279257365" sldId="2146850146"/>
            <ac:spMk id="3" creationId="{305507F4-E351-B93B-BD52-A2DD35DA6C97}"/>
          </ac:spMkLst>
        </pc:spChg>
        <pc:spChg chg="add del mod ord">
          <ac:chgData name="Caio Oriente Pereira" userId="cf0d9a0a-e124-4c03-aa21-7658adfbd4b5" providerId="ADAL" clId="{75441B16-FE08-4556-BAC4-BFB7AB5FC131}" dt="2023-10-04T15:34:49.302" v="3333"/>
          <ac:spMkLst>
            <pc:docMk/>
            <pc:sldMk cId="3279257365" sldId="2146850146"/>
            <ac:spMk id="4" creationId="{EBFE7E47-14BA-10B7-B533-37A0B40DEB80}"/>
          </ac:spMkLst>
        </pc:spChg>
        <pc:spChg chg="add del mod ord">
          <ac:chgData name="Caio Oriente Pereira" userId="cf0d9a0a-e124-4c03-aa21-7658adfbd4b5" providerId="ADAL" clId="{75441B16-FE08-4556-BAC4-BFB7AB5FC131}" dt="2023-10-04T15:34:49.302" v="3333"/>
          <ac:spMkLst>
            <pc:docMk/>
            <pc:sldMk cId="3279257365" sldId="2146850146"/>
            <ac:spMk id="6" creationId="{95B0E37A-F828-72B3-977E-53CCCB1EBBB0}"/>
          </ac:spMkLst>
        </pc:spChg>
        <pc:spChg chg="add del mod ord">
          <ac:chgData name="Caio Oriente Pereira" userId="cf0d9a0a-e124-4c03-aa21-7658adfbd4b5" providerId="ADAL" clId="{75441B16-FE08-4556-BAC4-BFB7AB5FC131}" dt="2023-10-04T15:34:49.302" v="3333"/>
          <ac:spMkLst>
            <pc:docMk/>
            <pc:sldMk cId="3279257365" sldId="2146850146"/>
            <ac:spMk id="8" creationId="{E4072898-C802-F86D-5FA0-0FBAE9DEF488}"/>
          </ac:spMkLst>
        </pc:spChg>
        <pc:spChg chg="add del mod ord">
          <ac:chgData name="Caio Oriente Pereira" userId="cf0d9a0a-e124-4c03-aa21-7658adfbd4b5" providerId="ADAL" clId="{75441B16-FE08-4556-BAC4-BFB7AB5FC131}" dt="2023-10-04T15:34:49.302" v="3333"/>
          <ac:spMkLst>
            <pc:docMk/>
            <pc:sldMk cId="3279257365" sldId="2146850146"/>
            <ac:spMk id="9" creationId="{F04180A1-714E-F148-26D6-CF81BA8BE1AB}"/>
          </ac:spMkLst>
        </pc:spChg>
        <pc:spChg chg="add del mod ord">
          <ac:chgData name="Caio Oriente Pereira" userId="cf0d9a0a-e124-4c03-aa21-7658adfbd4b5" providerId="ADAL" clId="{75441B16-FE08-4556-BAC4-BFB7AB5FC131}" dt="2023-10-04T15:34:49.302" v="3333"/>
          <ac:spMkLst>
            <pc:docMk/>
            <pc:sldMk cId="3279257365" sldId="2146850146"/>
            <ac:spMk id="10" creationId="{0EA6A759-3C09-28E9-656E-081C1FE3D75B}"/>
          </ac:spMkLst>
        </pc:spChg>
        <pc:spChg chg="add del mod ord">
          <ac:chgData name="Caio Oriente Pereira" userId="cf0d9a0a-e124-4c03-aa21-7658adfbd4b5" providerId="ADAL" clId="{75441B16-FE08-4556-BAC4-BFB7AB5FC131}" dt="2023-10-04T15:34:49.302" v="3333"/>
          <ac:spMkLst>
            <pc:docMk/>
            <pc:sldMk cId="3279257365" sldId="2146850146"/>
            <ac:spMk id="11" creationId="{ACBDCBA3-E577-0251-3C60-499273DEA113}"/>
          </ac:spMkLst>
        </pc:spChg>
        <pc:spChg chg="add del mod ord">
          <ac:chgData name="Caio Oriente Pereira" userId="cf0d9a0a-e124-4c03-aa21-7658adfbd4b5" providerId="ADAL" clId="{75441B16-FE08-4556-BAC4-BFB7AB5FC131}" dt="2023-10-04T15:34:49.302" v="3333"/>
          <ac:spMkLst>
            <pc:docMk/>
            <pc:sldMk cId="3279257365" sldId="2146850146"/>
            <ac:spMk id="12" creationId="{60AADD36-07D9-C03E-A385-9F974D7475D7}"/>
          </ac:spMkLst>
        </pc:spChg>
        <pc:spChg chg="add del mod ord">
          <ac:chgData name="Caio Oriente Pereira" userId="cf0d9a0a-e124-4c03-aa21-7658adfbd4b5" providerId="ADAL" clId="{75441B16-FE08-4556-BAC4-BFB7AB5FC131}" dt="2023-10-04T15:34:48.786" v="3332"/>
          <ac:spMkLst>
            <pc:docMk/>
            <pc:sldMk cId="3279257365" sldId="2146850146"/>
            <ac:spMk id="13" creationId="{9C6920B2-4E97-DB35-CD70-9425F30333D5}"/>
          </ac:spMkLst>
        </pc:spChg>
        <pc:spChg chg="add del mod">
          <ac:chgData name="Caio Oriente Pereira" userId="cf0d9a0a-e124-4c03-aa21-7658adfbd4b5" providerId="ADAL" clId="{75441B16-FE08-4556-BAC4-BFB7AB5FC131}" dt="2023-10-04T15:37:54.557" v="3351"/>
          <ac:spMkLst>
            <pc:docMk/>
            <pc:sldMk cId="3279257365" sldId="2146850146"/>
            <ac:spMk id="16" creationId="{EE50EB7C-7EBB-17AB-425F-507D348908E1}"/>
          </ac:spMkLst>
        </pc:spChg>
        <pc:spChg chg="add del mod">
          <ac:chgData name="Caio Oriente Pereira" userId="cf0d9a0a-e124-4c03-aa21-7658adfbd4b5" providerId="ADAL" clId="{75441B16-FE08-4556-BAC4-BFB7AB5FC131}" dt="2023-10-04T15:37:54.557" v="3351"/>
          <ac:spMkLst>
            <pc:docMk/>
            <pc:sldMk cId="3279257365" sldId="2146850146"/>
            <ac:spMk id="18" creationId="{1E22BBEF-0716-E559-1167-4BD0C27A4B66}"/>
          </ac:spMkLst>
        </pc:spChg>
        <pc:spChg chg="add del mod">
          <ac:chgData name="Caio Oriente Pereira" userId="cf0d9a0a-e124-4c03-aa21-7658adfbd4b5" providerId="ADAL" clId="{75441B16-FE08-4556-BAC4-BFB7AB5FC131}" dt="2023-10-04T15:37:54.557" v="3351"/>
          <ac:spMkLst>
            <pc:docMk/>
            <pc:sldMk cId="3279257365" sldId="2146850146"/>
            <ac:spMk id="20" creationId="{3C48CB70-A6D3-9F11-2898-17A6013A1C2E}"/>
          </ac:spMkLst>
        </pc:spChg>
        <pc:spChg chg="add del mod">
          <ac:chgData name="Caio Oriente Pereira" userId="cf0d9a0a-e124-4c03-aa21-7658adfbd4b5" providerId="ADAL" clId="{75441B16-FE08-4556-BAC4-BFB7AB5FC131}" dt="2023-10-04T15:37:54.557" v="3351"/>
          <ac:spMkLst>
            <pc:docMk/>
            <pc:sldMk cId="3279257365" sldId="2146850146"/>
            <ac:spMk id="21" creationId="{50AD0A39-BD41-6666-6F10-F3DCDD4F6604}"/>
          </ac:spMkLst>
        </pc:spChg>
        <pc:spChg chg="add del mod">
          <ac:chgData name="Caio Oriente Pereira" userId="cf0d9a0a-e124-4c03-aa21-7658adfbd4b5" providerId="ADAL" clId="{75441B16-FE08-4556-BAC4-BFB7AB5FC131}" dt="2023-10-04T15:37:54.557" v="3351"/>
          <ac:spMkLst>
            <pc:docMk/>
            <pc:sldMk cId="3279257365" sldId="2146850146"/>
            <ac:spMk id="22" creationId="{BB9F183B-1C82-C12E-2CE9-A60C94A46348}"/>
          </ac:spMkLst>
        </pc:spChg>
        <pc:spChg chg="add del mod">
          <ac:chgData name="Caio Oriente Pereira" userId="cf0d9a0a-e124-4c03-aa21-7658adfbd4b5" providerId="ADAL" clId="{75441B16-FE08-4556-BAC4-BFB7AB5FC131}" dt="2023-10-04T15:37:54.557" v="3351"/>
          <ac:spMkLst>
            <pc:docMk/>
            <pc:sldMk cId="3279257365" sldId="2146850146"/>
            <ac:spMk id="24" creationId="{DFF27467-BF5A-D5AF-6257-B6B7D2C05939}"/>
          </ac:spMkLst>
        </pc:spChg>
        <pc:spChg chg="add del mod">
          <ac:chgData name="Caio Oriente Pereira" userId="cf0d9a0a-e124-4c03-aa21-7658adfbd4b5" providerId="ADAL" clId="{75441B16-FE08-4556-BAC4-BFB7AB5FC131}" dt="2023-10-04T15:37:54.557" v="3351"/>
          <ac:spMkLst>
            <pc:docMk/>
            <pc:sldMk cId="3279257365" sldId="2146850146"/>
            <ac:spMk id="25" creationId="{9F08F346-0D64-C373-5E15-91698087C490}"/>
          </ac:spMkLst>
        </pc:spChg>
        <pc:spChg chg="add del mod">
          <ac:chgData name="Caio Oriente Pereira" userId="cf0d9a0a-e124-4c03-aa21-7658adfbd4b5" providerId="ADAL" clId="{75441B16-FE08-4556-BAC4-BFB7AB5FC131}" dt="2023-10-04T15:37:53.922" v="3350"/>
          <ac:spMkLst>
            <pc:docMk/>
            <pc:sldMk cId="3279257365" sldId="2146850146"/>
            <ac:spMk id="27" creationId="{E8D6AEBB-EC8B-9002-5785-EF0E58FB3A64}"/>
          </ac:spMkLst>
        </pc:spChg>
        <pc:spChg chg="add del mod">
          <ac:chgData name="Caio Oriente Pereira" userId="cf0d9a0a-e124-4c03-aa21-7658adfbd4b5" providerId="ADAL" clId="{75441B16-FE08-4556-BAC4-BFB7AB5FC131}" dt="2023-10-04T15:37:06.981" v="3347"/>
          <ac:spMkLst>
            <pc:docMk/>
            <pc:sldMk cId="3279257365" sldId="2146850146"/>
            <ac:spMk id="28" creationId="{2D5B0893-0C61-4DFF-4490-9346C33A5E04}"/>
          </ac:spMkLst>
        </pc:spChg>
        <pc:spChg chg="add mod">
          <ac:chgData name="Caio Oriente Pereira" userId="cf0d9a0a-e124-4c03-aa21-7658adfbd4b5" providerId="ADAL" clId="{75441B16-FE08-4556-BAC4-BFB7AB5FC131}" dt="2023-10-04T15:37:05.231" v="3346" actId="571"/>
          <ac:spMkLst>
            <pc:docMk/>
            <pc:sldMk cId="3279257365" sldId="2146850146"/>
            <ac:spMk id="30" creationId="{17C6327E-F95B-493D-30EB-612DB9CBE646}"/>
          </ac:spMkLst>
        </pc:spChg>
        <pc:spChg chg="add mod">
          <ac:chgData name="Caio Oriente Pereira" userId="cf0d9a0a-e124-4c03-aa21-7658adfbd4b5" providerId="ADAL" clId="{75441B16-FE08-4556-BAC4-BFB7AB5FC131}" dt="2023-10-04T15:37:05.231" v="3346" actId="571"/>
          <ac:spMkLst>
            <pc:docMk/>
            <pc:sldMk cId="3279257365" sldId="2146850146"/>
            <ac:spMk id="31" creationId="{CEA13C40-FC81-91A7-907C-5C61AE533AF4}"/>
          </ac:spMkLst>
        </pc:spChg>
        <pc:spChg chg="add del mod">
          <ac:chgData name="Caio Oriente Pereira" userId="cf0d9a0a-e124-4c03-aa21-7658adfbd4b5" providerId="ADAL" clId="{75441B16-FE08-4556-BAC4-BFB7AB5FC131}" dt="2023-10-04T15:37:53.301" v="3349"/>
          <ac:spMkLst>
            <pc:docMk/>
            <pc:sldMk cId="3279257365" sldId="2146850146"/>
            <ac:spMk id="33" creationId="{6FD41B55-7F9B-E8DD-CEA1-A253FD947EEB}"/>
          </ac:spMkLst>
        </pc:spChg>
        <pc:spChg chg="add del">
          <ac:chgData name="Caio Oriente Pereira" userId="cf0d9a0a-e124-4c03-aa21-7658adfbd4b5" providerId="ADAL" clId="{75441B16-FE08-4556-BAC4-BFB7AB5FC131}" dt="2023-10-04T15:37:55.243" v="3352" actId="478"/>
          <ac:spMkLst>
            <pc:docMk/>
            <pc:sldMk cId="3279257365" sldId="2146850146"/>
            <ac:spMk id="37" creationId="{08D70C40-2FD9-9E8C-78EE-DFFB1D31A6F9}"/>
          </ac:spMkLst>
        </pc:spChg>
        <pc:spChg chg="add del">
          <ac:chgData name="Caio Oriente Pereira" userId="cf0d9a0a-e124-4c03-aa21-7658adfbd4b5" providerId="ADAL" clId="{75441B16-FE08-4556-BAC4-BFB7AB5FC131}" dt="2023-10-04T15:37:55.243" v="3352" actId="478"/>
          <ac:spMkLst>
            <pc:docMk/>
            <pc:sldMk cId="3279257365" sldId="2146850146"/>
            <ac:spMk id="38" creationId="{BC728816-EFA9-943A-4EDB-8FE16801D4A2}"/>
          </ac:spMkLst>
        </pc:spChg>
        <pc:spChg chg="add del">
          <ac:chgData name="Caio Oriente Pereira" userId="cf0d9a0a-e124-4c03-aa21-7658adfbd4b5" providerId="ADAL" clId="{75441B16-FE08-4556-BAC4-BFB7AB5FC131}" dt="2023-10-04T15:37:55.243" v="3352" actId="478"/>
          <ac:spMkLst>
            <pc:docMk/>
            <pc:sldMk cId="3279257365" sldId="2146850146"/>
            <ac:spMk id="39" creationId="{221FCC9C-A558-D55F-26C3-A9C5BFC4B1DB}"/>
          </ac:spMkLst>
        </pc:spChg>
        <pc:spChg chg="add del">
          <ac:chgData name="Caio Oriente Pereira" userId="cf0d9a0a-e124-4c03-aa21-7658adfbd4b5" providerId="ADAL" clId="{75441B16-FE08-4556-BAC4-BFB7AB5FC131}" dt="2023-10-04T15:37:55.243" v="3352" actId="478"/>
          <ac:spMkLst>
            <pc:docMk/>
            <pc:sldMk cId="3279257365" sldId="2146850146"/>
            <ac:spMk id="40" creationId="{BF64C4FA-ACF8-AFF1-EEFA-13C52746A7FD}"/>
          </ac:spMkLst>
        </pc:spChg>
        <pc:grpChg chg="add del">
          <ac:chgData name="Caio Oriente Pereira" userId="cf0d9a0a-e124-4c03-aa21-7658adfbd4b5" providerId="ADAL" clId="{75441B16-FE08-4556-BAC4-BFB7AB5FC131}" dt="2023-10-04T15:37:55.243" v="3352" actId="478"/>
          <ac:grpSpMkLst>
            <pc:docMk/>
            <pc:sldMk cId="3279257365" sldId="2146850146"/>
            <ac:grpSpMk id="36" creationId="{1BD057FD-EB0A-C355-A688-5B6731606CC4}"/>
          </ac:grpSpMkLst>
        </pc:grpChg>
        <pc:graphicFrameChg chg="mod">
          <ac:chgData name="Caio Oriente Pereira" userId="cf0d9a0a-e124-4c03-aa21-7658adfbd4b5" providerId="ADAL" clId="{75441B16-FE08-4556-BAC4-BFB7AB5FC131}" dt="2023-10-04T15:34:48.786" v="3332"/>
          <ac:graphicFrameMkLst>
            <pc:docMk/>
            <pc:sldMk cId="3279257365" sldId="2146850146"/>
            <ac:graphicFrameMk id="14" creationId="{8C38F99C-5A43-9E64-FBBF-AD5A499C0642}"/>
          </ac:graphicFrameMkLst>
        </pc:graphicFrameChg>
        <pc:cxnChg chg="add del mod ord">
          <ac:chgData name="Caio Oriente Pereira" userId="cf0d9a0a-e124-4c03-aa21-7658adfbd4b5" providerId="ADAL" clId="{75441B16-FE08-4556-BAC4-BFB7AB5FC131}" dt="2023-10-04T15:34:49.302" v="3333"/>
          <ac:cxnSpMkLst>
            <pc:docMk/>
            <pc:sldMk cId="3279257365" sldId="2146850146"/>
            <ac:cxnSpMk id="5" creationId="{078D5725-CB1D-EE92-9FFE-82532E07F111}"/>
          </ac:cxnSpMkLst>
        </pc:cxnChg>
        <pc:cxnChg chg="add del mod ord">
          <ac:chgData name="Caio Oriente Pereira" userId="cf0d9a0a-e124-4c03-aa21-7658adfbd4b5" providerId="ADAL" clId="{75441B16-FE08-4556-BAC4-BFB7AB5FC131}" dt="2023-10-04T15:34:49.302" v="3333"/>
          <ac:cxnSpMkLst>
            <pc:docMk/>
            <pc:sldMk cId="3279257365" sldId="2146850146"/>
            <ac:cxnSpMk id="7" creationId="{1FA9E331-5912-466B-47E1-807A5136E75C}"/>
          </ac:cxnSpMkLst>
        </pc:cxnChg>
        <pc:cxnChg chg="add del mod">
          <ac:chgData name="Caio Oriente Pereira" userId="cf0d9a0a-e124-4c03-aa21-7658adfbd4b5" providerId="ADAL" clId="{75441B16-FE08-4556-BAC4-BFB7AB5FC131}" dt="2023-10-04T15:37:54.557" v="3351"/>
          <ac:cxnSpMkLst>
            <pc:docMk/>
            <pc:sldMk cId="3279257365" sldId="2146850146"/>
            <ac:cxnSpMk id="15" creationId="{B4F25F1B-D75F-A8FF-4511-537050A2CD1D}"/>
          </ac:cxnSpMkLst>
        </pc:cxnChg>
        <pc:cxnChg chg="add del mod">
          <ac:chgData name="Caio Oriente Pereira" userId="cf0d9a0a-e124-4c03-aa21-7658adfbd4b5" providerId="ADAL" clId="{75441B16-FE08-4556-BAC4-BFB7AB5FC131}" dt="2023-10-04T15:37:54.557" v="3351"/>
          <ac:cxnSpMkLst>
            <pc:docMk/>
            <pc:sldMk cId="3279257365" sldId="2146850146"/>
            <ac:cxnSpMk id="17" creationId="{CA0EEA59-A0CF-D0BB-6421-EDDA280B98EC}"/>
          </ac:cxnSpMkLst>
        </pc:cxnChg>
        <pc:cxnChg chg="mod">
          <ac:chgData name="Caio Oriente Pereira" userId="cf0d9a0a-e124-4c03-aa21-7658adfbd4b5" providerId="ADAL" clId="{75441B16-FE08-4556-BAC4-BFB7AB5FC131}" dt="2023-10-04T15:37:55.243" v="3352" actId="478"/>
          <ac:cxnSpMkLst>
            <pc:docMk/>
            <pc:sldMk cId="3279257365" sldId="2146850146"/>
            <ac:cxnSpMk id="32" creationId="{C984778A-D67A-793D-D28C-37069010352E}"/>
          </ac:cxnSpMkLst>
        </pc:cxnChg>
      </pc:sldChg>
      <pc:sldChg chg="addSp modSp add">
        <pc:chgData name="Caio Oriente Pereira" userId="cf0d9a0a-e124-4c03-aa21-7658adfbd4b5" providerId="ADAL" clId="{75441B16-FE08-4556-BAC4-BFB7AB5FC131}" dt="2023-10-05T18:24:49.660" v="3463"/>
        <pc:sldMkLst>
          <pc:docMk/>
          <pc:sldMk cId="4014638739" sldId="2146850146"/>
        </pc:sldMkLst>
        <pc:spChg chg="mod">
          <ac:chgData name="Caio Oriente Pereira" userId="cf0d9a0a-e124-4c03-aa21-7658adfbd4b5" providerId="ADAL" clId="{75441B16-FE08-4556-BAC4-BFB7AB5FC131}" dt="2023-10-05T18:24:49.660" v="3463"/>
          <ac:spMkLst>
            <pc:docMk/>
            <pc:sldMk cId="4014638739" sldId="2146850146"/>
            <ac:spMk id="5" creationId="{2B1627D0-0C81-1FE9-CC0E-FEAC8161809F}"/>
          </ac:spMkLst>
        </pc:spChg>
        <pc:spChg chg="mod">
          <ac:chgData name="Caio Oriente Pereira" userId="cf0d9a0a-e124-4c03-aa21-7658adfbd4b5" providerId="ADAL" clId="{75441B16-FE08-4556-BAC4-BFB7AB5FC131}" dt="2023-10-05T18:24:49.660" v="3463"/>
          <ac:spMkLst>
            <pc:docMk/>
            <pc:sldMk cId="4014638739" sldId="2146850146"/>
            <ac:spMk id="7" creationId="{D55CB407-EE58-69B3-1EBD-C6FEBF64D382}"/>
          </ac:spMkLst>
        </pc:spChg>
        <pc:spChg chg="mod">
          <ac:chgData name="Caio Oriente Pereira" userId="cf0d9a0a-e124-4c03-aa21-7658adfbd4b5" providerId="ADAL" clId="{75441B16-FE08-4556-BAC4-BFB7AB5FC131}" dt="2023-10-05T18:24:49.660" v="3463"/>
          <ac:spMkLst>
            <pc:docMk/>
            <pc:sldMk cId="4014638739" sldId="2146850146"/>
            <ac:spMk id="8" creationId="{985C4B55-6BD4-4CF9-1027-341D75807E8B}"/>
          </ac:spMkLst>
        </pc:spChg>
        <pc:spChg chg="mod">
          <ac:chgData name="Caio Oriente Pereira" userId="cf0d9a0a-e124-4c03-aa21-7658adfbd4b5" providerId="ADAL" clId="{75441B16-FE08-4556-BAC4-BFB7AB5FC131}" dt="2023-10-05T18:24:49.660" v="3463"/>
          <ac:spMkLst>
            <pc:docMk/>
            <pc:sldMk cId="4014638739" sldId="2146850146"/>
            <ac:spMk id="9" creationId="{E49543C6-055B-1F2B-C531-2FEB85395941}"/>
          </ac:spMkLst>
        </pc:spChg>
        <pc:spChg chg="mod">
          <ac:chgData name="Caio Oriente Pereira" userId="cf0d9a0a-e124-4c03-aa21-7658adfbd4b5" providerId="ADAL" clId="{75441B16-FE08-4556-BAC4-BFB7AB5FC131}" dt="2023-10-05T18:24:49.660" v="3463"/>
          <ac:spMkLst>
            <pc:docMk/>
            <pc:sldMk cId="4014638739" sldId="2146850146"/>
            <ac:spMk id="10" creationId="{FE4D5D55-CA18-434B-37A1-7686DE72117D}"/>
          </ac:spMkLst>
        </pc:spChg>
        <pc:spChg chg="mod">
          <ac:chgData name="Caio Oriente Pereira" userId="cf0d9a0a-e124-4c03-aa21-7658adfbd4b5" providerId="ADAL" clId="{75441B16-FE08-4556-BAC4-BFB7AB5FC131}" dt="2023-10-05T18:24:49.660" v="3463"/>
          <ac:spMkLst>
            <pc:docMk/>
            <pc:sldMk cId="4014638739" sldId="2146850146"/>
            <ac:spMk id="11" creationId="{6FA51773-2E7B-59E0-E274-1C5591D01473}"/>
          </ac:spMkLst>
        </pc:spChg>
        <pc:spChg chg="mod">
          <ac:chgData name="Caio Oriente Pereira" userId="cf0d9a0a-e124-4c03-aa21-7658adfbd4b5" providerId="ADAL" clId="{75441B16-FE08-4556-BAC4-BFB7AB5FC131}" dt="2023-10-05T18:24:49.660" v="3463"/>
          <ac:spMkLst>
            <pc:docMk/>
            <pc:sldMk cId="4014638739" sldId="2146850146"/>
            <ac:spMk id="12" creationId="{5F4FA8DF-4694-35B9-7DC6-3183AF48257A}"/>
          </ac:spMkLst>
        </pc:spChg>
        <pc:grpChg chg="add mod">
          <ac:chgData name="Caio Oriente Pereira" userId="cf0d9a0a-e124-4c03-aa21-7658adfbd4b5" providerId="ADAL" clId="{75441B16-FE08-4556-BAC4-BFB7AB5FC131}" dt="2023-10-05T18:24:49.660" v="3463"/>
          <ac:grpSpMkLst>
            <pc:docMk/>
            <pc:sldMk cId="4014638739" sldId="2146850146"/>
            <ac:grpSpMk id="4" creationId="{37BB005F-3498-57EA-83AA-5F6BDAB7C029}"/>
          </ac:grpSpMkLst>
        </pc:grpChg>
        <pc:grpChg chg="mod">
          <ac:chgData name="Caio Oriente Pereira" userId="cf0d9a0a-e124-4c03-aa21-7658adfbd4b5" providerId="ADAL" clId="{75441B16-FE08-4556-BAC4-BFB7AB5FC131}" dt="2023-10-05T18:24:49.660" v="3463"/>
          <ac:grpSpMkLst>
            <pc:docMk/>
            <pc:sldMk cId="4014638739" sldId="2146850146"/>
            <ac:grpSpMk id="6" creationId="{13C315FF-FEDB-7D66-53C6-E9C86BEEFB7F}"/>
          </ac:grpSpMkLst>
        </pc:grpChg>
      </pc:sldChg>
      <pc:sldChg chg="add del">
        <pc:chgData name="Caio Oriente Pereira" userId="cf0d9a0a-e124-4c03-aa21-7658adfbd4b5" providerId="ADAL" clId="{75441B16-FE08-4556-BAC4-BFB7AB5FC131}" dt="2023-09-28T19:46:11.137" v="38"/>
        <pc:sldMkLst>
          <pc:docMk/>
          <pc:sldMk cId="1511982123" sldId="2147470135"/>
        </pc:sldMkLst>
      </pc:sldChg>
      <pc:sldMasterChg chg="modSldLayout">
        <pc:chgData name="Caio Oriente Pereira" userId="cf0d9a0a-e124-4c03-aa21-7658adfbd4b5" providerId="ADAL" clId="{75441B16-FE08-4556-BAC4-BFB7AB5FC131}" dt="2023-09-29T11:57:52.695" v="233" actId="207"/>
        <pc:sldMasterMkLst>
          <pc:docMk/>
          <pc:sldMasterMk cId="3321107531" sldId="2147483648"/>
        </pc:sldMasterMkLst>
        <pc:sldLayoutChg chg="modSp mod">
          <pc:chgData name="Caio Oriente Pereira" userId="cf0d9a0a-e124-4c03-aa21-7658adfbd4b5" providerId="ADAL" clId="{75441B16-FE08-4556-BAC4-BFB7AB5FC131}" dt="2023-09-29T11:57:52.695" v="233" actId="207"/>
          <pc:sldLayoutMkLst>
            <pc:docMk/>
            <pc:sldMasterMk cId="3321107531" sldId="2147483648"/>
            <pc:sldLayoutMk cId="1612226065" sldId="2147483660"/>
          </pc:sldLayoutMkLst>
          <pc:spChg chg="mod">
            <ac:chgData name="Caio Oriente Pereira" userId="cf0d9a0a-e124-4c03-aa21-7658adfbd4b5" providerId="ADAL" clId="{75441B16-FE08-4556-BAC4-BFB7AB5FC131}" dt="2023-09-29T11:57:52.695" v="233" actId="207"/>
            <ac:spMkLst>
              <pc:docMk/>
              <pc:sldMasterMk cId="3321107531" sldId="2147483648"/>
              <pc:sldLayoutMk cId="1612226065" sldId="2147483660"/>
              <ac:spMk id="2" creationId="{78322206-6586-7324-09A4-EDD0D52C765B}"/>
            </ac:spMkLst>
          </pc:spChg>
        </pc:sldLayoutChg>
      </pc:sldMasterChg>
      <pc:sldMasterChg chg="del delSldLayout">
        <pc:chgData name="Caio Oriente Pereira" userId="cf0d9a0a-e124-4c03-aa21-7658adfbd4b5" providerId="ADAL" clId="{75441B16-FE08-4556-BAC4-BFB7AB5FC131}" dt="2023-10-04T15:33:01.067" v="3017" actId="47"/>
        <pc:sldMasterMkLst>
          <pc:docMk/>
          <pc:sldMasterMk cId="604707336" sldId="2147483661"/>
        </pc:sldMasterMkLst>
        <pc:sldLayoutChg chg="del">
          <pc:chgData name="Caio Oriente Pereira" userId="cf0d9a0a-e124-4c03-aa21-7658adfbd4b5" providerId="ADAL" clId="{75441B16-FE08-4556-BAC4-BFB7AB5FC131}" dt="2023-10-04T15:33:01.067" v="3017" actId="47"/>
          <pc:sldLayoutMkLst>
            <pc:docMk/>
            <pc:sldMasterMk cId="604707336" sldId="2147483661"/>
            <pc:sldLayoutMk cId="2878161997" sldId="2147483662"/>
          </pc:sldLayoutMkLst>
        </pc:sldLayoutChg>
        <pc:sldLayoutChg chg="del">
          <pc:chgData name="Caio Oriente Pereira" userId="cf0d9a0a-e124-4c03-aa21-7658adfbd4b5" providerId="ADAL" clId="{75441B16-FE08-4556-BAC4-BFB7AB5FC131}" dt="2023-10-04T15:33:01.067" v="3017" actId="47"/>
          <pc:sldLayoutMkLst>
            <pc:docMk/>
            <pc:sldMasterMk cId="604707336" sldId="2147483661"/>
            <pc:sldLayoutMk cId="1832850071" sldId="2147483663"/>
          </pc:sldLayoutMkLst>
        </pc:sldLayoutChg>
        <pc:sldLayoutChg chg="del">
          <pc:chgData name="Caio Oriente Pereira" userId="cf0d9a0a-e124-4c03-aa21-7658adfbd4b5" providerId="ADAL" clId="{75441B16-FE08-4556-BAC4-BFB7AB5FC131}" dt="2023-10-04T15:33:01.067" v="3017" actId="47"/>
          <pc:sldLayoutMkLst>
            <pc:docMk/>
            <pc:sldMasterMk cId="604707336" sldId="2147483661"/>
            <pc:sldLayoutMk cId="4020333889" sldId="2147483664"/>
          </pc:sldLayoutMkLst>
        </pc:sldLayoutChg>
        <pc:sldLayoutChg chg="del">
          <pc:chgData name="Caio Oriente Pereira" userId="cf0d9a0a-e124-4c03-aa21-7658adfbd4b5" providerId="ADAL" clId="{75441B16-FE08-4556-BAC4-BFB7AB5FC131}" dt="2023-10-04T15:33:01.067" v="3017" actId="47"/>
          <pc:sldLayoutMkLst>
            <pc:docMk/>
            <pc:sldMasterMk cId="604707336" sldId="2147483661"/>
            <pc:sldLayoutMk cId="1715531603" sldId="2147483665"/>
          </pc:sldLayoutMkLst>
        </pc:sldLayoutChg>
        <pc:sldLayoutChg chg="del">
          <pc:chgData name="Caio Oriente Pereira" userId="cf0d9a0a-e124-4c03-aa21-7658adfbd4b5" providerId="ADAL" clId="{75441B16-FE08-4556-BAC4-BFB7AB5FC131}" dt="2023-10-04T15:33:01.067" v="3017" actId="47"/>
          <pc:sldLayoutMkLst>
            <pc:docMk/>
            <pc:sldMasterMk cId="604707336" sldId="2147483661"/>
            <pc:sldLayoutMk cId="809612500" sldId="2147483666"/>
          </pc:sldLayoutMkLst>
        </pc:sldLayoutChg>
        <pc:sldLayoutChg chg="del">
          <pc:chgData name="Caio Oriente Pereira" userId="cf0d9a0a-e124-4c03-aa21-7658adfbd4b5" providerId="ADAL" clId="{75441B16-FE08-4556-BAC4-BFB7AB5FC131}" dt="2023-10-04T15:33:01.067" v="3017" actId="47"/>
          <pc:sldLayoutMkLst>
            <pc:docMk/>
            <pc:sldMasterMk cId="604707336" sldId="2147483661"/>
            <pc:sldLayoutMk cId="4227402920" sldId="2147483667"/>
          </pc:sldLayoutMkLst>
        </pc:sldLayoutChg>
        <pc:sldLayoutChg chg="del">
          <pc:chgData name="Caio Oriente Pereira" userId="cf0d9a0a-e124-4c03-aa21-7658adfbd4b5" providerId="ADAL" clId="{75441B16-FE08-4556-BAC4-BFB7AB5FC131}" dt="2023-10-04T15:33:01.067" v="3017" actId="47"/>
          <pc:sldLayoutMkLst>
            <pc:docMk/>
            <pc:sldMasterMk cId="604707336" sldId="2147483661"/>
            <pc:sldLayoutMk cId="1179092373" sldId="2147483668"/>
          </pc:sldLayoutMkLst>
        </pc:sldLayoutChg>
        <pc:sldLayoutChg chg="del">
          <pc:chgData name="Caio Oriente Pereira" userId="cf0d9a0a-e124-4c03-aa21-7658adfbd4b5" providerId="ADAL" clId="{75441B16-FE08-4556-BAC4-BFB7AB5FC131}" dt="2023-10-04T15:33:01.067" v="3017" actId="47"/>
          <pc:sldLayoutMkLst>
            <pc:docMk/>
            <pc:sldMasterMk cId="604707336" sldId="2147483661"/>
            <pc:sldLayoutMk cId="1118041652" sldId="2147483669"/>
          </pc:sldLayoutMkLst>
        </pc:sldLayoutChg>
        <pc:sldLayoutChg chg="del">
          <pc:chgData name="Caio Oriente Pereira" userId="cf0d9a0a-e124-4c03-aa21-7658adfbd4b5" providerId="ADAL" clId="{75441B16-FE08-4556-BAC4-BFB7AB5FC131}" dt="2023-10-04T15:33:01.067" v="3017" actId="47"/>
          <pc:sldLayoutMkLst>
            <pc:docMk/>
            <pc:sldMasterMk cId="604707336" sldId="2147483661"/>
            <pc:sldLayoutMk cId="760577658" sldId="2147483670"/>
          </pc:sldLayoutMkLst>
        </pc:sldLayoutChg>
        <pc:sldLayoutChg chg="del">
          <pc:chgData name="Caio Oriente Pereira" userId="cf0d9a0a-e124-4c03-aa21-7658adfbd4b5" providerId="ADAL" clId="{75441B16-FE08-4556-BAC4-BFB7AB5FC131}" dt="2023-10-04T15:33:01.067" v="3017" actId="47"/>
          <pc:sldLayoutMkLst>
            <pc:docMk/>
            <pc:sldMasterMk cId="604707336" sldId="2147483661"/>
            <pc:sldLayoutMk cId="2266989764" sldId="2147483671"/>
          </pc:sldLayoutMkLst>
        </pc:sldLayoutChg>
        <pc:sldLayoutChg chg="del">
          <pc:chgData name="Caio Oriente Pereira" userId="cf0d9a0a-e124-4c03-aa21-7658adfbd4b5" providerId="ADAL" clId="{75441B16-FE08-4556-BAC4-BFB7AB5FC131}" dt="2023-10-04T15:33:01.067" v="3017" actId="47"/>
          <pc:sldLayoutMkLst>
            <pc:docMk/>
            <pc:sldMasterMk cId="604707336" sldId="2147483661"/>
            <pc:sldLayoutMk cId="3722681332" sldId="2147483672"/>
          </pc:sldLayoutMkLst>
        </pc:sldLayoutChg>
        <pc:sldLayoutChg chg="del">
          <pc:chgData name="Caio Oriente Pereira" userId="cf0d9a0a-e124-4c03-aa21-7658adfbd4b5" providerId="ADAL" clId="{75441B16-FE08-4556-BAC4-BFB7AB5FC131}" dt="2023-10-04T15:33:01.067" v="3017" actId="47"/>
          <pc:sldLayoutMkLst>
            <pc:docMk/>
            <pc:sldMasterMk cId="604707336" sldId="2147483661"/>
            <pc:sldLayoutMk cId="104582027" sldId="2147483673"/>
          </pc:sldLayoutMkLst>
        </pc:sldLayoutChg>
        <pc:sldLayoutChg chg="del">
          <pc:chgData name="Caio Oriente Pereira" userId="cf0d9a0a-e124-4c03-aa21-7658adfbd4b5" providerId="ADAL" clId="{75441B16-FE08-4556-BAC4-BFB7AB5FC131}" dt="2023-10-04T15:33:01.067" v="3017" actId="47"/>
          <pc:sldLayoutMkLst>
            <pc:docMk/>
            <pc:sldMasterMk cId="604707336" sldId="2147483661"/>
            <pc:sldLayoutMk cId="2183271415" sldId="2147483674"/>
          </pc:sldLayoutMkLst>
        </pc:sldLayoutChg>
      </pc:sldMasterChg>
      <pc:sldMasterChg chg="del delSldLayout">
        <pc:chgData name="Caio Oriente Pereira" userId="cf0d9a0a-e124-4c03-aa21-7658adfbd4b5" providerId="ADAL" clId="{75441B16-FE08-4556-BAC4-BFB7AB5FC131}" dt="2023-10-03T20:49:34.385" v="1588" actId="47"/>
        <pc:sldMasterMkLst>
          <pc:docMk/>
          <pc:sldMasterMk cId="1996598329" sldId="2147483675"/>
        </pc:sldMasterMkLst>
        <pc:sldLayoutChg chg="del">
          <pc:chgData name="Caio Oriente Pereira" userId="cf0d9a0a-e124-4c03-aa21-7658adfbd4b5" providerId="ADAL" clId="{75441B16-FE08-4556-BAC4-BFB7AB5FC131}" dt="2023-10-03T20:49:34.385" v="1588" actId="47"/>
          <pc:sldLayoutMkLst>
            <pc:docMk/>
            <pc:sldMasterMk cId="1996598329" sldId="2147483675"/>
            <pc:sldLayoutMk cId="1690127973" sldId="2147483676"/>
          </pc:sldLayoutMkLst>
        </pc:sldLayoutChg>
        <pc:sldLayoutChg chg="del">
          <pc:chgData name="Caio Oriente Pereira" userId="cf0d9a0a-e124-4c03-aa21-7658adfbd4b5" providerId="ADAL" clId="{75441B16-FE08-4556-BAC4-BFB7AB5FC131}" dt="2023-10-03T20:49:34.385" v="1588" actId="47"/>
          <pc:sldLayoutMkLst>
            <pc:docMk/>
            <pc:sldMasterMk cId="1996598329" sldId="2147483675"/>
            <pc:sldLayoutMk cId="2208176693" sldId="2147483677"/>
          </pc:sldLayoutMkLst>
        </pc:sldLayoutChg>
        <pc:sldLayoutChg chg="del">
          <pc:chgData name="Caio Oriente Pereira" userId="cf0d9a0a-e124-4c03-aa21-7658adfbd4b5" providerId="ADAL" clId="{75441B16-FE08-4556-BAC4-BFB7AB5FC131}" dt="2023-10-03T20:49:34.385" v="1588" actId="47"/>
          <pc:sldLayoutMkLst>
            <pc:docMk/>
            <pc:sldMasterMk cId="1996598329" sldId="2147483675"/>
            <pc:sldLayoutMk cId="956437776" sldId="2147483678"/>
          </pc:sldLayoutMkLst>
        </pc:sldLayoutChg>
      </pc:sldMasterChg>
    </pc:docChg>
  </pc:docChgLst>
  <pc:docChgLst>
    <pc:chgData name="Caio Oriente Pereira" userId="S::caio.pereira@cpfl.com.br::cf0d9a0a-e124-4c03-aa21-7658adfbd4b5" providerId="AD" clId="Web-{275F3583-85B0-42F3-B333-208F6880077C}"/>
    <pc:docChg chg="mod addSld delSld modSld addMainMaster modMainMaster">
      <pc:chgData name="Caio Oriente Pereira" userId="S::caio.pereira@cpfl.com.br::cf0d9a0a-e124-4c03-aa21-7658adfbd4b5" providerId="AD" clId="Web-{275F3583-85B0-42F3-B333-208F6880077C}" dt="2023-09-28T19:42:11.347" v="39" actId="14100"/>
      <pc:docMkLst>
        <pc:docMk/>
      </pc:docMkLst>
      <pc:sldChg chg="del">
        <pc:chgData name="Caio Oriente Pereira" userId="S::caio.pereira@cpfl.com.br::cf0d9a0a-e124-4c03-aa21-7658adfbd4b5" providerId="AD" clId="Web-{275F3583-85B0-42F3-B333-208F6880077C}" dt="2023-09-28T19:41:15.846" v="3"/>
        <pc:sldMkLst>
          <pc:docMk/>
          <pc:sldMk cId="2210866551" sldId="256"/>
        </pc:sldMkLst>
      </pc:sldChg>
      <pc:sldChg chg="modSp add">
        <pc:chgData name="Caio Oriente Pereira" userId="S::caio.pereira@cpfl.com.br::cf0d9a0a-e124-4c03-aa21-7658adfbd4b5" providerId="AD" clId="Web-{275F3583-85B0-42F3-B333-208F6880077C}" dt="2023-09-28T19:42:11.347" v="39" actId="14100"/>
        <pc:sldMkLst>
          <pc:docMk/>
          <pc:sldMk cId="613546705" sldId="257"/>
        </pc:sldMkLst>
        <pc:spChg chg="mod">
          <ac:chgData name="Caio Oriente Pereira" userId="S::caio.pereira@cpfl.com.br::cf0d9a0a-e124-4c03-aa21-7658adfbd4b5" providerId="AD" clId="Web-{275F3583-85B0-42F3-B333-208F6880077C}" dt="2023-09-28T19:41:52.206" v="35" actId="14100"/>
          <ac:spMkLst>
            <pc:docMk/>
            <pc:sldMk cId="613546705" sldId="257"/>
            <ac:spMk id="5" creationId="{E9644F98-C0F2-8EFB-91B9-D03C52C46473}"/>
          </ac:spMkLst>
        </pc:spChg>
        <pc:spChg chg="mod">
          <ac:chgData name="Caio Oriente Pereira" userId="S::caio.pereira@cpfl.com.br::cf0d9a0a-e124-4c03-aa21-7658adfbd4b5" providerId="AD" clId="Web-{275F3583-85B0-42F3-B333-208F6880077C}" dt="2023-09-28T19:41:47.925" v="34" actId="20577"/>
          <ac:spMkLst>
            <pc:docMk/>
            <pc:sldMk cId="613546705" sldId="257"/>
            <ac:spMk id="6" creationId="{A3B88074-1C3D-E3B1-4ACA-2EC62AB06CB6}"/>
          </ac:spMkLst>
        </pc:spChg>
        <pc:grpChg chg="mod">
          <ac:chgData name="Caio Oriente Pereira" userId="S::caio.pereira@cpfl.com.br::cf0d9a0a-e124-4c03-aa21-7658adfbd4b5" providerId="AD" clId="Web-{275F3583-85B0-42F3-B333-208F6880077C}" dt="2023-09-28T19:42:11.347" v="39" actId="14100"/>
          <ac:grpSpMkLst>
            <pc:docMk/>
            <pc:sldMk cId="613546705" sldId="257"/>
            <ac:grpSpMk id="2" creationId="{7821DF8F-CAFC-A057-3E0D-CAB32808EE89}"/>
          </ac:grpSpMkLst>
        </pc:grpChg>
      </pc:sldChg>
      <pc:sldMasterChg chg="add addSldLayout">
        <pc:chgData name="Caio Oriente Pereira" userId="S::caio.pereira@cpfl.com.br::cf0d9a0a-e124-4c03-aa21-7658adfbd4b5" providerId="AD" clId="Web-{275F3583-85B0-42F3-B333-208F6880077C}" dt="2023-09-28T19:41:12.752" v="2"/>
        <pc:sldMasterMkLst>
          <pc:docMk/>
          <pc:sldMasterMk cId="3321107531" sldId="2147483648"/>
        </pc:sldMasterMkLst>
        <pc:sldLayoutChg chg="add">
          <pc:chgData name="Caio Oriente Pereira" userId="S::caio.pereira@cpfl.com.br::cf0d9a0a-e124-4c03-aa21-7658adfbd4b5" providerId="AD" clId="Web-{275F3583-85B0-42F3-B333-208F6880077C}" dt="2023-09-28T19:41:12.752" v="2"/>
          <pc:sldLayoutMkLst>
            <pc:docMk/>
            <pc:sldMasterMk cId="3321107531" sldId="2147483648"/>
            <pc:sldLayoutMk cId="4240047443" sldId="2147483649"/>
          </pc:sldLayoutMkLst>
        </pc:sldLayoutChg>
        <pc:sldLayoutChg chg="add">
          <pc:chgData name="Caio Oriente Pereira" userId="S::caio.pereira@cpfl.com.br::cf0d9a0a-e124-4c03-aa21-7658adfbd4b5" providerId="AD" clId="Web-{275F3583-85B0-42F3-B333-208F6880077C}" dt="2023-09-28T19:41:12.752" v="2"/>
          <pc:sldLayoutMkLst>
            <pc:docMk/>
            <pc:sldMasterMk cId="3321107531" sldId="2147483648"/>
            <pc:sldLayoutMk cId="3077578390" sldId="2147483650"/>
          </pc:sldLayoutMkLst>
        </pc:sldLayoutChg>
        <pc:sldLayoutChg chg="add">
          <pc:chgData name="Caio Oriente Pereira" userId="S::caio.pereira@cpfl.com.br::cf0d9a0a-e124-4c03-aa21-7658adfbd4b5" providerId="AD" clId="Web-{275F3583-85B0-42F3-B333-208F6880077C}" dt="2023-09-28T19:41:12.752" v="2"/>
          <pc:sldLayoutMkLst>
            <pc:docMk/>
            <pc:sldMasterMk cId="3321107531" sldId="2147483648"/>
            <pc:sldLayoutMk cId="1131879285" sldId="2147483651"/>
          </pc:sldLayoutMkLst>
        </pc:sldLayoutChg>
        <pc:sldLayoutChg chg="add">
          <pc:chgData name="Caio Oriente Pereira" userId="S::caio.pereira@cpfl.com.br::cf0d9a0a-e124-4c03-aa21-7658adfbd4b5" providerId="AD" clId="Web-{275F3583-85B0-42F3-B333-208F6880077C}" dt="2023-09-28T19:41:12.752" v="2"/>
          <pc:sldLayoutMkLst>
            <pc:docMk/>
            <pc:sldMasterMk cId="3321107531" sldId="2147483648"/>
            <pc:sldLayoutMk cId="695636591" sldId="2147483652"/>
          </pc:sldLayoutMkLst>
        </pc:sldLayoutChg>
        <pc:sldLayoutChg chg="add">
          <pc:chgData name="Caio Oriente Pereira" userId="S::caio.pereira@cpfl.com.br::cf0d9a0a-e124-4c03-aa21-7658adfbd4b5" providerId="AD" clId="Web-{275F3583-85B0-42F3-B333-208F6880077C}" dt="2023-09-28T19:41:12.752" v="2"/>
          <pc:sldLayoutMkLst>
            <pc:docMk/>
            <pc:sldMasterMk cId="3321107531" sldId="2147483648"/>
            <pc:sldLayoutMk cId="1516607641" sldId="2147483653"/>
          </pc:sldLayoutMkLst>
        </pc:sldLayoutChg>
        <pc:sldLayoutChg chg="add">
          <pc:chgData name="Caio Oriente Pereira" userId="S::caio.pereira@cpfl.com.br::cf0d9a0a-e124-4c03-aa21-7658adfbd4b5" providerId="AD" clId="Web-{275F3583-85B0-42F3-B333-208F6880077C}" dt="2023-09-28T19:41:12.752" v="2"/>
          <pc:sldLayoutMkLst>
            <pc:docMk/>
            <pc:sldMasterMk cId="3321107531" sldId="2147483648"/>
            <pc:sldLayoutMk cId="504649655" sldId="2147483654"/>
          </pc:sldLayoutMkLst>
        </pc:sldLayoutChg>
        <pc:sldLayoutChg chg="add">
          <pc:chgData name="Caio Oriente Pereira" userId="S::caio.pereira@cpfl.com.br::cf0d9a0a-e124-4c03-aa21-7658adfbd4b5" providerId="AD" clId="Web-{275F3583-85B0-42F3-B333-208F6880077C}" dt="2023-09-28T19:41:12.752" v="2"/>
          <pc:sldLayoutMkLst>
            <pc:docMk/>
            <pc:sldMasterMk cId="3321107531" sldId="2147483648"/>
            <pc:sldLayoutMk cId="2576911309" sldId="2147483655"/>
          </pc:sldLayoutMkLst>
        </pc:sldLayoutChg>
        <pc:sldLayoutChg chg="add">
          <pc:chgData name="Caio Oriente Pereira" userId="S::caio.pereira@cpfl.com.br::cf0d9a0a-e124-4c03-aa21-7658adfbd4b5" providerId="AD" clId="Web-{275F3583-85B0-42F3-B333-208F6880077C}" dt="2023-09-28T19:41:12.752" v="2"/>
          <pc:sldLayoutMkLst>
            <pc:docMk/>
            <pc:sldMasterMk cId="3321107531" sldId="2147483648"/>
            <pc:sldLayoutMk cId="2110180510" sldId="2147483656"/>
          </pc:sldLayoutMkLst>
        </pc:sldLayoutChg>
        <pc:sldLayoutChg chg="add">
          <pc:chgData name="Caio Oriente Pereira" userId="S::caio.pereira@cpfl.com.br::cf0d9a0a-e124-4c03-aa21-7658adfbd4b5" providerId="AD" clId="Web-{275F3583-85B0-42F3-B333-208F6880077C}" dt="2023-09-28T19:41:12.752" v="2"/>
          <pc:sldLayoutMkLst>
            <pc:docMk/>
            <pc:sldMasterMk cId="3321107531" sldId="2147483648"/>
            <pc:sldLayoutMk cId="2648814575" sldId="2147483657"/>
          </pc:sldLayoutMkLst>
        </pc:sldLayoutChg>
        <pc:sldLayoutChg chg="add">
          <pc:chgData name="Caio Oriente Pereira" userId="S::caio.pereira@cpfl.com.br::cf0d9a0a-e124-4c03-aa21-7658adfbd4b5" providerId="AD" clId="Web-{275F3583-85B0-42F3-B333-208F6880077C}" dt="2023-09-28T19:41:12.752" v="2"/>
          <pc:sldLayoutMkLst>
            <pc:docMk/>
            <pc:sldMasterMk cId="3321107531" sldId="2147483648"/>
            <pc:sldLayoutMk cId="3953512776" sldId="2147483658"/>
          </pc:sldLayoutMkLst>
        </pc:sldLayoutChg>
        <pc:sldLayoutChg chg="add">
          <pc:chgData name="Caio Oriente Pereira" userId="S::caio.pereira@cpfl.com.br::cf0d9a0a-e124-4c03-aa21-7658adfbd4b5" providerId="AD" clId="Web-{275F3583-85B0-42F3-B333-208F6880077C}" dt="2023-09-28T19:41:12.752" v="2"/>
          <pc:sldLayoutMkLst>
            <pc:docMk/>
            <pc:sldMasterMk cId="3321107531" sldId="2147483648"/>
            <pc:sldLayoutMk cId="104350693" sldId="2147483659"/>
          </pc:sldLayoutMkLst>
        </pc:sldLayoutChg>
        <pc:sldLayoutChg chg="add">
          <pc:chgData name="Caio Oriente Pereira" userId="S::caio.pereira@cpfl.com.br::cf0d9a0a-e124-4c03-aa21-7658adfbd4b5" providerId="AD" clId="Web-{275F3583-85B0-42F3-B333-208F6880077C}" dt="2023-09-28T19:41:12.752" v="2"/>
          <pc:sldLayoutMkLst>
            <pc:docMk/>
            <pc:sldMasterMk cId="3321107531" sldId="2147483648"/>
            <pc:sldLayoutMk cId="1612226065" sldId="2147483660"/>
          </pc:sldLayoutMkLst>
        </pc:sldLayoutChg>
      </pc:sldMasterChg>
      <pc:sldMasterChg chg="addSp replId modSldLayout">
        <pc:chgData name="Caio Oriente Pereira" userId="S::caio.pereira@cpfl.com.br::cf0d9a0a-e124-4c03-aa21-7658adfbd4b5" providerId="AD" clId="Web-{275F3583-85B0-42F3-B333-208F6880077C}" dt="2023-09-28T19:41:12.752" v="2"/>
        <pc:sldMasterMkLst>
          <pc:docMk/>
          <pc:sldMasterMk cId="2675746937" sldId="2147483661"/>
        </pc:sldMasterMkLst>
        <pc:spChg chg="add">
          <ac:chgData name="Caio Oriente Pereira" userId="S::caio.pereira@cpfl.com.br::cf0d9a0a-e124-4c03-aa21-7658adfbd4b5" providerId="AD" clId="Web-{275F3583-85B0-42F3-B333-208F6880077C}" dt="2023-09-28T19:40:39.001" v="0" actId="33475"/>
          <ac:spMkLst>
            <pc:docMk/>
            <pc:sldMasterMk cId="2675746937" sldId="2147483661"/>
            <ac:spMk id="8" creationId="{0B3F652F-6432-BBDA-D128-309BD813D9C1}"/>
          </ac:spMkLst>
        </pc:spChg>
        <pc:sldLayoutChg chg="replId">
          <pc:chgData name="Caio Oriente Pereira" userId="S::caio.pereira@cpfl.com.br::cf0d9a0a-e124-4c03-aa21-7658adfbd4b5" providerId="AD" clId="Web-{275F3583-85B0-42F3-B333-208F6880077C}" dt="2023-09-28T19:41:12.752" v="2"/>
          <pc:sldLayoutMkLst>
            <pc:docMk/>
            <pc:sldMasterMk cId="2675746937" sldId="2147483661"/>
            <pc:sldLayoutMk cId="877683876" sldId="2147483662"/>
          </pc:sldLayoutMkLst>
        </pc:sldLayoutChg>
        <pc:sldLayoutChg chg="replId">
          <pc:chgData name="Caio Oriente Pereira" userId="S::caio.pereira@cpfl.com.br::cf0d9a0a-e124-4c03-aa21-7658adfbd4b5" providerId="AD" clId="Web-{275F3583-85B0-42F3-B333-208F6880077C}" dt="2023-09-28T19:41:12.752" v="2"/>
          <pc:sldLayoutMkLst>
            <pc:docMk/>
            <pc:sldMasterMk cId="2675746937" sldId="2147483661"/>
            <pc:sldLayoutMk cId="314005268" sldId="2147483663"/>
          </pc:sldLayoutMkLst>
        </pc:sldLayoutChg>
        <pc:sldLayoutChg chg="replId">
          <pc:chgData name="Caio Oriente Pereira" userId="S::caio.pereira@cpfl.com.br::cf0d9a0a-e124-4c03-aa21-7658adfbd4b5" providerId="AD" clId="Web-{275F3583-85B0-42F3-B333-208F6880077C}" dt="2023-09-28T19:41:12.752" v="2"/>
          <pc:sldLayoutMkLst>
            <pc:docMk/>
            <pc:sldMasterMk cId="2675746937" sldId="2147483661"/>
            <pc:sldLayoutMk cId="3781375764" sldId="2147483664"/>
          </pc:sldLayoutMkLst>
        </pc:sldLayoutChg>
        <pc:sldLayoutChg chg="replId">
          <pc:chgData name="Caio Oriente Pereira" userId="S::caio.pereira@cpfl.com.br::cf0d9a0a-e124-4c03-aa21-7658adfbd4b5" providerId="AD" clId="Web-{275F3583-85B0-42F3-B333-208F6880077C}" dt="2023-09-28T19:41:12.752" v="2"/>
          <pc:sldLayoutMkLst>
            <pc:docMk/>
            <pc:sldMasterMk cId="2675746937" sldId="2147483661"/>
            <pc:sldLayoutMk cId="2124613824" sldId="2147483665"/>
          </pc:sldLayoutMkLst>
        </pc:sldLayoutChg>
        <pc:sldLayoutChg chg="replId">
          <pc:chgData name="Caio Oriente Pereira" userId="S::caio.pereira@cpfl.com.br::cf0d9a0a-e124-4c03-aa21-7658adfbd4b5" providerId="AD" clId="Web-{275F3583-85B0-42F3-B333-208F6880077C}" dt="2023-09-28T19:41:12.752" v="2"/>
          <pc:sldLayoutMkLst>
            <pc:docMk/>
            <pc:sldMasterMk cId="2675746937" sldId="2147483661"/>
            <pc:sldLayoutMk cId="3694421058" sldId="2147483666"/>
          </pc:sldLayoutMkLst>
        </pc:sldLayoutChg>
        <pc:sldLayoutChg chg="replId">
          <pc:chgData name="Caio Oriente Pereira" userId="S::caio.pereira@cpfl.com.br::cf0d9a0a-e124-4c03-aa21-7658adfbd4b5" providerId="AD" clId="Web-{275F3583-85B0-42F3-B333-208F6880077C}" dt="2023-09-28T19:41:12.752" v="2"/>
          <pc:sldLayoutMkLst>
            <pc:docMk/>
            <pc:sldMasterMk cId="2675746937" sldId="2147483661"/>
            <pc:sldLayoutMk cId="3108533492" sldId="2147483667"/>
          </pc:sldLayoutMkLst>
        </pc:sldLayoutChg>
        <pc:sldLayoutChg chg="replId">
          <pc:chgData name="Caio Oriente Pereira" userId="S::caio.pereira@cpfl.com.br::cf0d9a0a-e124-4c03-aa21-7658adfbd4b5" providerId="AD" clId="Web-{275F3583-85B0-42F3-B333-208F6880077C}" dt="2023-09-28T19:41:12.752" v="2"/>
          <pc:sldLayoutMkLst>
            <pc:docMk/>
            <pc:sldMasterMk cId="2675746937" sldId="2147483661"/>
            <pc:sldLayoutMk cId="578281579" sldId="2147483668"/>
          </pc:sldLayoutMkLst>
        </pc:sldLayoutChg>
        <pc:sldLayoutChg chg="replId">
          <pc:chgData name="Caio Oriente Pereira" userId="S::caio.pereira@cpfl.com.br::cf0d9a0a-e124-4c03-aa21-7658adfbd4b5" providerId="AD" clId="Web-{275F3583-85B0-42F3-B333-208F6880077C}" dt="2023-09-28T19:41:12.752" v="2"/>
          <pc:sldLayoutMkLst>
            <pc:docMk/>
            <pc:sldMasterMk cId="2675746937" sldId="2147483661"/>
            <pc:sldLayoutMk cId="2217836567" sldId="2147483669"/>
          </pc:sldLayoutMkLst>
        </pc:sldLayoutChg>
        <pc:sldLayoutChg chg="replId">
          <pc:chgData name="Caio Oriente Pereira" userId="S::caio.pereira@cpfl.com.br::cf0d9a0a-e124-4c03-aa21-7658adfbd4b5" providerId="AD" clId="Web-{275F3583-85B0-42F3-B333-208F6880077C}" dt="2023-09-28T19:41:12.752" v="2"/>
          <pc:sldLayoutMkLst>
            <pc:docMk/>
            <pc:sldMasterMk cId="2675746937" sldId="2147483661"/>
            <pc:sldLayoutMk cId="2245566346" sldId="2147483670"/>
          </pc:sldLayoutMkLst>
        </pc:sldLayoutChg>
        <pc:sldLayoutChg chg="replId">
          <pc:chgData name="Caio Oriente Pereira" userId="S::caio.pereira@cpfl.com.br::cf0d9a0a-e124-4c03-aa21-7658adfbd4b5" providerId="AD" clId="Web-{275F3583-85B0-42F3-B333-208F6880077C}" dt="2023-09-28T19:41:12.752" v="2"/>
          <pc:sldLayoutMkLst>
            <pc:docMk/>
            <pc:sldMasterMk cId="2675746937" sldId="2147483661"/>
            <pc:sldLayoutMk cId="746588027" sldId="2147483671"/>
          </pc:sldLayoutMkLst>
        </pc:sldLayoutChg>
        <pc:sldLayoutChg chg="replId">
          <pc:chgData name="Caio Oriente Pereira" userId="S::caio.pereira@cpfl.com.br::cf0d9a0a-e124-4c03-aa21-7658adfbd4b5" providerId="AD" clId="Web-{275F3583-85B0-42F3-B333-208F6880077C}" dt="2023-09-28T19:41:12.752" v="2"/>
          <pc:sldLayoutMkLst>
            <pc:docMk/>
            <pc:sldMasterMk cId="2675746937" sldId="2147483661"/>
            <pc:sldLayoutMk cId="1306397509" sldId="2147483672"/>
          </pc:sldLayoutMkLst>
        </pc:sldLayoutChg>
      </pc:sldMasterChg>
    </pc:docChg>
  </pc:docChgLst>
  <pc:docChgLst>
    <pc:chgData name="Caio Oriente Pereira" userId="cf0d9a0a-e124-4c03-aa21-7658adfbd4b5" providerId="ADAL" clId="{025AF431-BEE9-4A0A-A935-00F89D84F9A0}"/>
    <pc:docChg chg="undo custSel addSld delSld modSld sldOrd addSection delSection modSection replTag">
      <pc:chgData name="Caio Oriente Pereira" userId="cf0d9a0a-e124-4c03-aa21-7658adfbd4b5" providerId="ADAL" clId="{025AF431-BEE9-4A0A-A935-00F89D84F9A0}" dt="2023-10-11T18:50:44.901" v="4848" actId="20577"/>
      <pc:docMkLst>
        <pc:docMk/>
      </pc:docMkLst>
      <pc:sldChg chg="modSp mod modTransition modNotesTx">
        <pc:chgData name="Caio Oriente Pereira" userId="cf0d9a0a-e124-4c03-aa21-7658adfbd4b5" providerId="ADAL" clId="{025AF431-BEE9-4A0A-A935-00F89D84F9A0}" dt="2023-10-11T18:37:10.598" v="4655"/>
        <pc:sldMkLst>
          <pc:docMk/>
          <pc:sldMk cId="613546705" sldId="257"/>
        </pc:sldMkLst>
        <pc:spChg chg="mod">
          <ac:chgData name="Caio Oriente Pereira" userId="cf0d9a0a-e124-4c03-aa21-7658adfbd4b5" providerId="ADAL" clId="{025AF431-BEE9-4A0A-A935-00F89D84F9A0}" dt="2023-10-11T11:10:35.293" v="69" actId="20577"/>
          <ac:spMkLst>
            <pc:docMk/>
            <pc:sldMk cId="613546705" sldId="257"/>
            <ac:spMk id="5" creationId="{E9644F98-C0F2-8EFB-91B9-D03C52C46473}"/>
          </ac:spMkLst>
        </pc:spChg>
        <pc:spChg chg="mod">
          <ac:chgData name="Caio Oriente Pereira" userId="cf0d9a0a-e124-4c03-aa21-7658adfbd4b5" providerId="ADAL" clId="{025AF431-BEE9-4A0A-A935-00F89D84F9A0}" dt="2023-10-11T11:10:44.909" v="74" actId="20577"/>
          <ac:spMkLst>
            <pc:docMk/>
            <pc:sldMk cId="613546705" sldId="257"/>
            <ac:spMk id="6" creationId="{A3B88074-1C3D-E3B1-4ACA-2EC62AB06CB6}"/>
          </ac:spMkLst>
        </pc:spChg>
        <pc:picChg chg="mod">
          <ac:chgData name="Caio Oriente Pereira" userId="cf0d9a0a-e124-4c03-aa21-7658adfbd4b5" providerId="ADAL" clId="{025AF431-BEE9-4A0A-A935-00F89D84F9A0}" dt="2023-10-11T13:15:49.356" v="1532" actId="1076"/>
          <ac:picMkLst>
            <pc:docMk/>
            <pc:sldMk cId="613546705" sldId="257"/>
            <ac:picMk id="26" creationId="{8959DDB1-68E0-F67E-7D9B-14A48D98078F}"/>
          </ac:picMkLst>
        </pc:picChg>
      </pc:sldChg>
      <pc:sldChg chg="addSp delSp modSp add mod ord setBg">
        <pc:chgData name="Caio Oriente Pereira" userId="cf0d9a0a-e124-4c03-aa21-7658adfbd4b5" providerId="ADAL" clId="{025AF431-BEE9-4A0A-A935-00F89D84F9A0}" dt="2023-10-11T18:34:31.154" v="4651" actId="20577"/>
        <pc:sldMkLst>
          <pc:docMk/>
          <pc:sldMk cId="3175378067" sldId="258"/>
        </pc:sldMkLst>
        <pc:spChg chg="mod">
          <ac:chgData name="Caio Oriente Pereira" userId="cf0d9a0a-e124-4c03-aa21-7658adfbd4b5" providerId="ADAL" clId="{025AF431-BEE9-4A0A-A935-00F89D84F9A0}" dt="2023-10-11T18:32:49.943" v="4527" actId="2711"/>
          <ac:spMkLst>
            <pc:docMk/>
            <pc:sldMk cId="3175378067" sldId="258"/>
            <ac:spMk id="2" creationId="{00000000-0000-0000-0000-000000000000}"/>
          </ac:spMkLst>
        </pc:spChg>
        <pc:spChg chg="mod">
          <ac:chgData name="Caio Oriente Pereira" userId="cf0d9a0a-e124-4c03-aa21-7658adfbd4b5" providerId="ADAL" clId="{025AF431-BEE9-4A0A-A935-00F89D84F9A0}" dt="2023-10-11T18:34:31.154" v="4651" actId="20577"/>
          <ac:spMkLst>
            <pc:docMk/>
            <pc:sldMk cId="3175378067" sldId="258"/>
            <ac:spMk id="3" creationId="{00000000-0000-0000-0000-000000000000}"/>
          </ac:spMkLst>
        </pc:spChg>
        <pc:spChg chg="del">
          <ac:chgData name="Caio Oriente Pereira" userId="cf0d9a0a-e124-4c03-aa21-7658adfbd4b5" providerId="ADAL" clId="{025AF431-BEE9-4A0A-A935-00F89D84F9A0}" dt="2023-10-11T12:34:55.583" v="785" actId="478"/>
          <ac:spMkLst>
            <pc:docMk/>
            <pc:sldMk cId="3175378067" sldId="258"/>
            <ac:spMk id="5" creationId="{00000000-0000-0000-0000-000000000000}"/>
          </ac:spMkLst>
        </pc:spChg>
        <pc:spChg chg="add del mod modVis">
          <ac:chgData name="Caio Oriente Pereira" userId="cf0d9a0a-e124-4c03-aa21-7658adfbd4b5" providerId="ADAL" clId="{025AF431-BEE9-4A0A-A935-00F89D84F9A0}" dt="2023-10-11T18:32:49.942" v="4525" actId="962"/>
          <ac:spMkLst>
            <pc:docMk/>
            <pc:sldMk cId="3175378067" sldId="258"/>
            <ac:spMk id="10" creationId="{A7A362BC-BFBF-3F6B-16FD-73D0DD93A2F5}"/>
          </ac:spMkLst>
        </pc:spChg>
        <pc:spChg chg="add del mod modVis">
          <ac:chgData name="Caio Oriente Pereira" userId="cf0d9a0a-e124-4c03-aa21-7658adfbd4b5" providerId="ADAL" clId="{025AF431-BEE9-4A0A-A935-00F89D84F9A0}" dt="2023-10-11T18:32:49.669" v="4499" actId="962"/>
          <ac:spMkLst>
            <pc:docMk/>
            <pc:sldMk cId="3175378067" sldId="258"/>
            <ac:spMk id="11" creationId="{7556EC1F-3FAA-5FB8-20DC-EA4D91F99B72}"/>
          </ac:spMkLst>
        </pc:spChg>
        <pc:spChg chg="add del mod modVis">
          <ac:chgData name="Caio Oriente Pereira" userId="cf0d9a0a-e124-4c03-aa21-7658adfbd4b5" providerId="ADAL" clId="{025AF431-BEE9-4A0A-A935-00F89D84F9A0}" dt="2023-10-11T18:32:49.435" v="4473" actId="962"/>
          <ac:spMkLst>
            <pc:docMk/>
            <pc:sldMk cId="3175378067" sldId="258"/>
            <ac:spMk id="12" creationId="{164C705F-5117-301A-FB15-975A6297434A}"/>
          </ac:spMkLst>
        </pc:spChg>
        <pc:grpChg chg="del">
          <ac:chgData name="Caio Oriente Pereira" userId="cf0d9a0a-e124-4c03-aa21-7658adfbd4b5" providerId="ADAL" clId="{025AF431-BEE9-4A0A-A935-00F89D84F9A0}" dt="2023-10-11T12:34:43.835" v="783" actId="478"/>
          <ac:grpSpMkLst>
            <pc:docMk/>
            <pc:sldMk cId="3175378067" sldId="258"/>
            <ac:grpSpMk id="9" creationId="{00000000-0000-0000-0000-000000000000}"/>
          </ac:grpSpMkLst>
        </pc:grpChg>
        <pc:graphicFrameChg chg="mod">
          <ac:chgData name="Caio Oriente Pereira" userId="cf0d9a0a-e124-4c03-aa21-7658adfbd4b5" providerId="ADAL" clId="{025AF431-BEE9-4A0A-A935-00F89D84F9A0}" dt="2023-10-11T18:32:50.681" v="4530" actId="1076"/>
          <ac:graphicFrameMkLst>
            <pc:docMk/>
            <pc:sldMk cId="3175378067" sldId="258"/>
            <ac:graphicFrameMk id="6" creationId="{00000000-0000-0000-0000-000000000000}"/>
          </ac:graphicFrameMkLst>
        </pc:graphicFrameChg>
      </pc:sldChg>
      <pc:sldChg chg="addSp delSp modSp mod modTransition">
        <pc:chgData name="Caio Oriente Pereira" userId="cf0d9a0a-e124-4c03-aa21-7658adfbd4b5" providerId="ADAL" clId="{025AF431-BEE9-4A0A-A935-00F89D84F9A0}" dt="2023-10-11T18:37:16.345" v="4656"/>
        <pc:sldMkLst>
          <pc:docMk/>
          <pc:sldMk cId="4258814762" sldId="262"/>
        </pc:sldMkLst>
        <pc:spChg chg="add del">
          <ac:chgData name="Caio Oriente Pereira" userId="cf0d9a0a-e124-4c03-aa21-7658adfbd4b5" providerId="ADAL" clId="{025AF431-BEE9-4A0A-A935-00F89D84F9A0}" dt="2023-10-11T13:15:02.460" v="1505" actId="478"/>
          <ac:spMkLst>
            <pc:docMk/>
            <pc:sldMk cId="4258814762" sldId="262"/>
            <ac:spMk id="2" creationId="{906F7BD5-F62E-E8E4-00FF-95EDB8280B48}"/>
          </ac:spMkLst>
        </pc:spChg>
        <pc:spChg chg="add del">
          <ac:chgData name="Caio Oriente Pereira" userId="cf0d9a0a-e124-4c03-aa21-7658adfbd4b5" providerId="ADAL" clId="{025AF431-BEE9-4A0A-A935-00F89D84F9A0}" dt="2023-10-11T13:15:02.830" v="1506" actId="478"/>
          <ac:spMkLst>
            <pc:docMk/>
            <pc:sldMk cId="4258814762" sldId="262"/>
            <ac:spMk id="3" creationId="{C0562C2A-9316-24C2-8531-CA6A023C0069}"/>
          </ac:spMkLst>
        </pc:spChg>
        <pc:spChg chg="mod">
          <ac:chgData name="Caio Oriente Pereira" userId="cf0d9a0a-e124-4c03-aa21-7658adfbd4b5" providerId="ADAL" clId="{025AF431-BEE9-4A0A-A935-00F89D84F9A0}" dt="2023-10-11T17:31:15.205" v="3254" actId="1036"/>
          <ac:spMkLst>
            <pc:docMk/>
            <pc:sldMk cId="4258814762" sldId="262"/>
            <ac:spMk id="4" creationId="{75F2FDCB-E6A7-D256-8955-8892963E64D2}"/>
          </ac:spMkLst>
        </pc:spChg>
        <pc:spChg chg="mod topLvl">
          <ac:chgData name="Caio Oriente Pereira" userId="cf0d9a0a-e124-4c03-aa21-7658adfbd4b5" providerId="ADAL" clId="{025AF431-BEE9-4A0A-A935-00F89D84F9A0}" dt="2023-10-11T17:31:15.205" v="3254" actId="1036"/>
          <ac:spMkLst>
            <pc:docMk/>
            <pc:sldMk cId="4258814762" sldId="262"/>
            <ac:spMk id="8" creationId="{4A48817F-A6DE-95AD-E43E-49C7F4EC2EF9}"/>
          </ac:spMkLst>
        </pc:spChg>
        <pc:spChg chg="mod topLvl">
          <ac:chgData name="Caio Oriente Pereira" userId="cf0d9a0a-e124-4c03-aa21-7658adfbd4b5" providerId="ADAL" clId="{025AF431-BEE9-4A0A-A935-00F89D84F9A0}" dt="2023-10-11T17:31:15.205" v="3254" actId="1036"/>
          <ac:spMkLst>
            <pc:docMk/>
            <pc:sldMk cId="4258814762" sldId="262"/>
            <ac:spMk id="10" creationId="{9CF3521C-6395-BD5F-2E6D-BAF6B50A8F7E}"/>
          </ac:spMkLst>
        </pc:spChg>
        <pc:spChg chg="mod">
          <ac:chgData name="Caio Oriente Pereira" userId="cf0d9a0a-e124-4c03-aa21-7658adfbd4b5" providerId="ADAL" clId="{025AF431-BEE9-4A0A-A935-00F89D84F9A0}" dt="2023-10-11T17:31:28.568" v="3273" actId="20577"/>
          <ac:spMkLst>
            <pc:docMk/>
            <pc:sldMk cId="4258814762" sldId="262"/>
            <ac:spMk id="13" creationId="{7AB7744D-41FD-6211-89E8-61B76742CC36}"/>
          </ac:spMkLst>
        </pc:spChg>
        <pc:grpChg chg="del mod">
          <ac:chgData name="Caio Oriente Pereira" userId="cf0d9a0a-e124-4c03-aa21-7658adfbd4b5" providerId="ADAL" clId="{025AF431-BEE9-4A0A-A935-00F89D84F9A0}" dt="2023-10-11T13:13:40.887" v="1395" actId="165"/>
          <ac:grpSpMkLst>
            <pc:docMk/>
            <pc:sldMk cId="4258814762" sldId="262"/>
            <ac:grpSpMk id="6" creationId="{016D1BE7-437A-833A-7DD6-8A058EE3515F}"/>
          </ac:grpSpMkLst>
        </pc:grpChg>
        <pc:picChg chg="mod">
          <ac:chgData name="Caio Oriente Pereira" userId="cf0d9a0a-e124-4c03-aa21-7658adfbd4b5" providerId="ADAL" clId="{025AF431-BEE9-4A0A-A935-00F89D84F9A0}" dt="2023-10-11T17:31:15.205" v="3254" actId="1036"/>
          <ac:picMkLst>
            <pc:docMk/>
            <pc:sldMk cId="4258814762" sldId="262"/>
            <ac:picMk id="5" creationId="{B939424E-0C1D-16A9-8108-531726EA05EC}"/>
          </ac:picMkLst>
        </pc:picChg>
        <pc:cxnChg chg="mod topLvl">
          <ac:chgData name="Caio Oriente Pereira" userId="cf0d9a0a-e124-4c03-aa21-7658adfbd4b5" providerId="ADAL" clId="{025AF431-BEE9-4A0A-A935-00F89D84F9A0}" dt="2023-10-11T17:31:15.205" v="3254" actId="1036"/>
          <ac:cxnSpMkLst>
            <pc:docMk/>
            <pc:sldMk cId="4258814762" sldId="262"/>
            <ac:cxnSpMk id="7" creationId="{A0522DE0-81D8-3069-B05E-507DC0875D21}"/>
          </ac:cxnSpMkLst>
        </pc:cxnChg>
        <pc:cxnChg chg="mod topLvl">
          <ac:chgData name="Caio Oriente Pereira" userId="cf0d9a0a-e124-4c03-aa21-7658adfbd4b5" providerId="ADAL" clId="{025AF431-BEE9-4A0A-A935-00F89D84F9A0}" dt="2023-10-11T17:31:15.205" v="3254" actId="1036"/>
          <ac:cxnSpMkLst>
            <pc:docMk/>
            <pc:sldMk cId="4258814762" sldId="262"/>
            <ac:cxnSpMk id="9" creationId="{8078E4D6-46B5-6351-D058-A82046AA00CA}"/>
          </ac:cxnSpMkLst>
        </pc:cxnChg>
        <pc:cxnChg chg="mod topLvl">
          <ac:chgData name="Caio Oriente Pereira" userId="cf0d9a0a-e124-4c03-aa21-7658adfbd4b5" providerId="ADAL" clId="{025AF431-BEE9-4A0A-A935-00F89D84F9A0}" dt="2023-10-11T17:31:15.205" v="3254" actId="1036"/>
          <ac:cxnSpMkLst>
            <pc:docMk/>
            <pc:sldMk cId="4258814762" sldId="262"/>
            <ac:cxnSpMk id="11" creationId="{6232DE98-A8FB-7076-5EEC-63F3732C7066}"/>
          </ac:cxnSpMkLst>
        </pc:cxnChg>
        <pc:cxnChg chg="mod topLvl">
          <ac:chgData name="Caio Oriente Pereira" userId="cf0d9a0a-e124-4c03-aa21-7658adfbd4b5" providerId="ADAL" clId="{025AF431-BEE9-4A0A-A935-00F89D84F9A0}" dt="2023-10-11T17:31:15.205" v="3254" actId="1036"/>
          <ac:cxnSpMkLst>
            <pc:docMk/>
            <pc:sldMk cId="4258814762" sldId="262"/>
            <ac:cxnSpMk id="12" creationId="{8D64C9E9-A799-CD8A-AA8B-F6FECB7321BA}"/>
          </ac:cxnSpMkLst>
        </pc:cxnChg>
      </pc:sldChg>
      <pc:sldChg chg="del">
        <pc:chgData name="Caio Oriente Pereira" userId="cf0d9a0a-e124-4c03-aa21-7658adfbd4b5" providerId="ADAL" clId="{025AF431-BEE9-4A0A-A935-00F89D84F9A0}" dt="2023-10-11T12:15:40.100" v="423" actId="47"/>
        <pc:sldMkLst>
          <pc:docMk/>
          <pc:sldMk cId="90366110" sldId="2400"/>
        </pc:sldMkLst>
      </pc:sldChg>
      <pc:sldChg chg="del">
        <pc:chgData name="Caio Oriente Pereira" userId="cf0d9a0a-e124-4c03-aa21-7658adfbd4b5" providerId="ADAL" clId="{025AF431-BEE9-4A0A-A935-00F89D84F9A0}" dt="2023-10-11T12:15:57.464" v="424" actId="18676"/>
        <pc:sldMkLst>
          <pc:docMk/>
          <pc:sldMk cId="3875483333" sldId="2401"/>
        </pc:sldMkLst>
      </pc:sldChg>
      <pc:sldChg chg="del">
        <pc:chgData name="Caio Oriente Pereira" userId="cf0d9a0a-e124-4c03-aa21-7658adfbd4b5" providerId="ADAL" clId="{025AF431-BEE9-4A0A-A935-00F89D84F9A0}" dt="2023-10-11T12:15:57.464" v="424" actId="18676"/>
        <pc:sldMkLst>
          <pc:docMk/>
          <pc:sldMk cId="758079285" sldId="2402"/>
        </pc:sldMkLst>
      </pc:sldChg>
      <pc:sldChg chg="del">
        <pc:chgData name="Caio Oriente Pereira" userId="cf0d9a0a-e124-4c03-aa21-7658adfbd4b5" providerId="ADAL" clId="{025AF431-BEE9-4A0A-A935-00F89D84F9A0}" dt="2023-10-11T12:16:14.313" v="426" actId="47"/>
        <pc:sldMkLst>
          <pc:docMk/>
          <pc:sldMk cId="3990835118" sldId="2406"/>
        </pc:sldMkLst>
      </pc:sldChg>
      <pc:sldChg chg="delSp modSp mod">
        <pc:chgData name="Caio Oriente Pereira" userId="cf0d9a0a-e124-4c03-aa21-7658adfbd4b5" providerId="ADAL" clId="{025AF431-BEE9-4A0A-A935-00F89D84F9A0}" dt="2023-10-11T18:28:14.838" v="4196" actId="20577"/>
        <pc:sldMkLst>
          <pc:docMk/>
          <pc:sldMk cId="2215345650" sldId="2408"/>
        </pc:sldMkLst>
        <pc:spChg chg="mod">
          <ac:chgData name="Caio Oriente Pereira" userId="cf0d9a0a-e124-4c03-aa21-7658adfbd4b5" providerId="ADAL" clId="{025AF431-BEE9-4A0A-A935-00F89D84F9A0}" dt="2023-10-11T12:03:52.823" v="234" actId="313"/>
          <ac:spMkLst>
            <pc:docMk/>
            <pc:sldMk cId="2215345650" sldId="2408"/>
            <ac:spMk id="3" creationId="{305507F4-E351-B93B-BD52-A2DD35DA6C97}"/>
          </ac:spMkLst>
        </pc:spChg>
        <pc:spChg chg="del mod">
          <ac:chgData name="Caio Oriente Pereira" userId="cf0d9a0a-e124-4c03-aa21-7658adfbd4b5" providerId="ADAL" clId="{025AF431-BEE9-4A0A-A935-00F89D84F9A0}" dt="2023-10-11T12:04:19.633" v="276" actId="478"/>
          <ac:spMkLst>
            <pc:docMk/>
            <pc:sldMk cId="2215345650" sldId="2408"/>
            <ac:spMk id="5" creationId="{1ADDB258-D529-A853-F570-DC5A6345E39D}"/>
          </ac:spMkLst>
        </pc:spChg>
        <pc:spChg chg="mod">
          <ac:chgData name="Caio Oriente Pereira" userId="cf0d9a0a-e124-4c03-aa21-7658adfbd4b5" providerId="ADAL" clId="{025AF431-BEE9-4A0A-A935-00F89D84F9A0}" dt="2023-10-11T18:28:14.838" v="4196" actId="20577"/>
          <ac:spMkLst>
            <pc:docMk/>
            <pc:sldMk cId="2215345650" sldId="2408"/>
            <ac:spMk id="6" creationId="{9A9B7F35-4120-B8A1-9CED-DC9D5BE43BF0}"/>
          </ac:spMkLst>
        </pc:spChg>
        <pc:picChg chg="del mod">
          <ac:chgData name="Caio Oriente Pereira" userId="cf0d9a0a-e124-4c03-aa21-7658adfbd4b5" providerId="ADAL" clId="{025AF431-BEE9-4A0A-A935-00F89D84F9A0}" dt="2023-10-11T12:04:19.633" v="276" actId="478"/>
          <ac:picMkLst>
            <pc:docMk/>
            <pc:sldMk cId="2215345650" sldId="2408"/>
            <ac:picMk id="4" creationId="{135C28E9-76DC-7FBC-333A-8587BEAD17A5}"/>
          </ac:picMkLst>
        </pc:picChg>
      </pc:sldChg>
      <pc:sldChg chg="addSp delSp modSp mod modTransition">
        <pc:chgData name="Caio Oriente Pereira" userId="cf0d9a0a-e124-4c03-aa21-7658adfbd4b5" providerId="ADAL" clId="{025AF431-BEE9-4A0A-A935-00F89D84F9A0}" dt="2023-10-11T18:37:22.449" v="4657"/>
        <pc:sldMkLst>
          <pc:docMk/>
          <pc:sldMk cId="2803376041" sldId="2409"/>
        </pc:sldMkLst>
        <pc:spChg chg="mod">
          <ac:chgData name="Caio Oriente Pereira" userId="cf0d9a0a-e124-4c03-aa21-7658adfbd4b5" providerId="ADAL" clId="{025AF431-BEE9-4A0A-A935-00F89D84F9A0}" dt="2023-10-11T11:44:19.501" v="79"/>
          <ac:spMkLst>
            <pc:docMk/>
            <pc:sldMk cId="2803376041" sldId="2409"/>
            <ac:spMk id="5" creationId="{E9644F98-C0F2-8EFB-91B9-D03C52C46473}"/>
          </ac:spMkLst>
        </pc:spChg>
        <pc:spChg chg="mod">
          <ac:chgData name="Caio Oriente Pereira" userId="cf0d9a0a-e124-4c03-aa21-7658adfbd4b5" providerId="ADAL" clId="{025AF431-BEE9-4A0A-A935-00F89D84F9A0}" dt="2023-10-11T11:44:25.727" v="82" actId="20577"/>
          <ac:spMkLst>
            <pc:docMk/>
            <pc:sldMk cId="2803376041" sldId="2409"/>
            <ac:spMk id="6" creationId="{A3B88074-1C3D-E3B1-4ACA-2EC62AB06CB6}"/>
          </ac:spMkLst>
        </pc:spChg>
        <pc:spChg chg="mod">
          <ac:chgData name="Caio Oriente Pereira" userId="cf0d9a0a-e124-4c03-aa21-7658adfbd4b5" providerId="ADAL" clId="{025AF431-BEE9-4A0A-A935-00F89D84F9A0}" dt="2023-10-11T12:16:58.468" v="470" actId="14100"/>
          <ac:spMkLst>
            <pc:docMk/>
            <pc:sldMk cId="2803376041" sldId="2409"/>
            <ac:spMk id="16" creationId="{556CE424-7CB5-3A63-10B3-A93D4B1D25CC}"/>
          </ac:spMkLst>
        </pc:spChg>
        <pc:spChg chg="add del mod">
          <ac:chgData name="Caio Oriente Pereira" userId="cf0d9a0a-e124-4c03-aa21-7658adfbd4b5" providerId="ADAL" clId="{025AF431-BEE9-4A0A-A935-00F89D84F9A0}" dt="2023-10-11T14:09:41.239" v="1556" actId="20577"/>
          <ac:spMkLst>
            <pc:docMk/>
            <pc:sldMk cId="2803376041" sldId="2409"/>
            <ac:spMk id="17" creationId="{90CA6E15-36B3-06E2-F2F7-65E17E0CE688}"/>
          </ac:spMkLst>
        </pc:spChg>
      </pc:sldChg>
      <pc:sldChg chg="modSp add mod">
        <pc:chgData name="Caio Oriente Pereira" userId="cf0d9a0a-e124-4c03-aa21-7658adfbd4b5" providerId="ADAL" clId="{025AF431-BEE9-4A0A-A935-00F89D84F9A0}" dt="2023-10-11T18:39:50.654" v="4659" actId="20577"/>
        <pc:sldMkLst>
          <pc:docMk/>
          <pc:sldMk cId="3948102342" sldId="2410"/>
        </pc:sldMkLst>
        <pc:spChg chg="mod">
          <ac:chgData name="Caio Oriente Pereira" userId="cf0d9a0a-e124-4c03-aa21-7658adfbd4b5" providerId="ADAL" clId="{025AF431-BEE9-4A0A-A935-00F89D84F9A0}" dt="2023-10-11T14:17:04.018" v="1658" actId="6549"/>
          <ac:spMkLst>
            <pc:docMk/>
            <pc:sldMk cId="3948102342" sldId="2410"/>
            <ac:spMk id="3" creationId="{305507F4-E351-B93B-BD52-A2DD35DA6C97}"/>
          </ac:spMkLst>
        </pc:spChg>
        <pc:spChg chg="mod">
          <ac:chgData name="Caio Oriente Pereira" userId="cf0d9a0a-e124-4c03-aa21-7658adfbd4b5" providerId="ADAL" clId="{025AF431-BEE9-4A0A-A935-00F89D84F9A0}" dt="2023-10-11T18:39:50.654" v="4659" actId="20577"/>
          <ac:spMkLst>
            <pc:docMk/>
            <pc:sldMk cId="3948102342" sldId="2410"/>
            <ac:spMk id="6" creationId="{9A9B7F35-4120-B8A1-9CED-DC9D5BE43BF0}"/>
          </ac:spMkLst>
        </pc:spChg>
      </pc:sldChg>
      <pc:sldChg chg="del">
        <pc:chgData name="Caio Oriente Pereira" userId="cf0d9a0a-e124-4c03-aa21-7658adfbd4b5" providerId="ADAL" clId="{025AF431-BEE9-4A0A-A935-00F89D84F9A0}" dt="2023-10-11T12:16:10.132" v="425" actId="47"/>
        <pc:sldMkLst>
          <pc:docMk/>
          <pc:sldMk cId="4239650200" sldId="2410"/>
        </pc:sldMkLst>
      </pc:sldChg>
      <pc:sldChg chg="del">
        <pc:chgData name="Caio Oriente Pereira" userId="cf0d9a0a-e124-4c03-aa21-7658adfbd4b5" providerId="ADAL" clId="{025AF431-BEE9-4A0A-A935-00F89D84F9A0}" dt="2023-10-11T12:16:10.132" v="425" actId="47"/>
        <pc:sldMkLst>
          <pc:docMk/>
          <pc:sldMk cId="417396938" sldId="2411"/>
        </pc:sldMkLst>
      </pc:sldChg>
      <pc:sldChg chg="modSp add mod">
        <pc:chgData name="Caio Oriente Pereira" userId="cf0d9a0a-e124-4c03-aa21-7658adfbd4b5" providerId="ADAL" clId="{025AF431-BEE9-4A0A-A935-00F89D84F9A0}" dt="2023-10-11T17:26:59.986" v="2946" actId="6549"/>
        <pc:sldMkLst>
          <pc:docMk/>
          <pc:sldMk cId="723911958" sldId="2411"/>
        </pc:sldMkLst>
        <pc:spChg chg="mod">
          <ac:chgData name="Caio Oriente Pereira" userId="cf0d9a0a-e124-4c03-aa21-7658adfbd4b5" providerId="ADAL" clId="{025AF431-BEE9-4A0A-A935-00F89D84F9A0}" dt="2023-10-11T16:07:17.989" v="2079" actId="20577"/>
          <ac:spMkLst>
            <pc:docMk/>
            <pc:sldMk cId="723911958" sldId="2411"/>
            <ac:spMk id="3" creationId="{305507F4-E351-B93B-BD52-A2DD35DA6C97}"/>
          </ac:spMkLst>
        </pc:spChg>
        <pc:spChg chg="mod">
          <ac:chgData name="Caio Oriente Pereira" userId="cf0d9a0a-e124-4c03-aa21-7658adfbd4b5" providerId="ADAL" clId="{025AF431-BEE9-4A0A-A935-00F89D84F9A0}" dt="2023-10-11T17:26:59.986" v="2946" actId="6549"/>
          <ac:spMkLst>
            <pc:docMk/>
            <pc:sldMk cId="723911958" sldId="2411"/>
            <ac:spMk id="6" creationId="{9A9B7F35-4120-B8A1-9CED-DC9D5BE43BF0}"/>
          </ac:spMkLst>
        </pc:spChg>
      </pc:sldChg>
      <pc:sldChg chg="modSp add mod">
        <pc:chgData name="Caio Oriente Pereira" userId="cf0d9a0a-e124-4c03-aa21-7658adfbd4b5" providerId="ADAL" clId="{025AF431-BEE9-4A0A-A935-00F89D84F9A0}" dt="2023-10-11T17:48:14.618" v="3460" actId="114"/>
        <pc:sldMkLst>
          <pc:docMk/>
          <pc:sldMk cId="2823622510" sldId="2412"/>
        </pc:sldMkLst>
        <pc:spChg chg="mod">
          <ac:chgData name="Caio Oriente Pereira" userId="cf0d9a0a-e124-4c03-aa21-7658adfbd4b5" providerId="ADAL" clId="{025AF431-BEE9-4A0A-A935-00F89D84F9A0}" dt="2023-10-11T17:48:14.618" v="3460" actId="114"/>
          <ac:spMkLst>
            <pc:docMk/>
            <pc:sldMk cId="2823622510" sldId="2412"/>
            <ac:spMk id="3" creationId="{305507F4-E351-B93B-BD52-A2DD35DA6C97}"/>
          </ac:spMkLst>
        </pc:spChg>
        <pc:spChg chg="mod">
          <ac:chgData name="Caio Oriente Pereira" userId="cf0d9a0a-e124-4c03-aa21-7658adfbd4b5" providerId="ADAL" clId="{025AF431-BEE9-4A0A-A935-00F89D84F9A0}" dt="2023-10-11T17:48:07.964" v="3459" actId="20577"/>
          <ac:spMkLst>
            <pc:docMk/>
            <pc:sldMk cId="2823622510" sldId="2412"/>
            <ac:spMk id="6" creationId="{9A9B7F35-4120-B8A1-9CED-DC9D5BE43BF0}"/>
          </ac:spMkLst>
        </pc:spChg>
      </pc:sldChg>
      <pc:sldChg chg="addSp delSp modSp add mod">
        <pc:chgData name="Caio Oriente Pereira" userId="cf0d9a0a-e124-4c03-aa21-7658adfbd4b5" providerId="ADAL" clId="{025AF431-BEE9-4A0A-A935-00F89D84F9A0}" dt="2023-10-11T17:56:05.682" v="3804" actId="207"/>
        <pc:sldMkLst>
          <pc:docMk/>
          <pc:sldMk cId="1430284547" sldId="2413"/>
        </pc:sldMkLst>
        <pc:spChg chg="mod">
          <ac:chgData name="Caio Oriente Pereira" userId="cf0d9a0a-e124-4c03-aa21-7658adfbd4b5" providerId="ADAL" clId="{025AF431-BEE9-4A0A-A935-00F89D84F9A0}" dt="2023-10-11T17:49:45.808" v="3557" actId="114"/>
          <ac:spMkLst>
            <pc:docMk/>
            <pc:sldMk cId="1430284547" sldId="2413"/>
            <ac:spMk id="3" creationId="{305507F4-E351-B93B-BD52-A2DD35DA6C97}"/>
          </ac:spMkLst>
        </pc:spChg>
        <pc:spChg chg="add mod">
          <ac:chgData name="Caio Oriente Pereira" userId="cf0d9a0a-e124-4c03-aa21-7658adfbd4b5" providerId="ADAL" clId="{025AF431-BEE9-4A0A-A935-00F89D84F9A0}" dt="2023-10-11T17:50:06.566" v="3559"/>
          <ac:spMkLst>
            <pc:docMk/>
            <pc:sldMk cId="1430284547" sldId="2413"/>
            <ac:spMk id="4" creationId="{E1F47231-8780-5BAE-2C77-EFE5F0AD42D4}"/>
          </ac:spMkLst>
        </pc:spChg>
        <pc:spChg chg="add mod">
          <ac:chgData name="Caio Oriente Pereira" userId="cf0d9a0a-e124-4c03-aa21-7658adfbd4b5" providerId="ADAL" clId="{025AF431-BEE9-4A0A-A935-00F89D84F9A0}" dt="2023-10-11T17:50:06.566" v="3559"/>
          <ac:spMkLst>
            <pc:docMk/>
            <pc:sldMk cId="1430284547" sldId="2413"/>
            <ac:spMk id="5" creationId="{2E2FC03C-6927-0A7E-7BE9-D03A95DD511A}"/>
          </ac:spMkLst>
        </pc:spChg>
        <pc:spChg chg="del">
          <ac:chgData name="Caio Oriente Pereira" userId="cf0d9a0a-e124-4c03-aa21-7658adfbd4b5" providerId="ADAL" clId="{025AF431-BEE9-4A0A-A935-00F89D84F9A0}" dt="2023-10-11T17:50:05.952" v="3558" actId="478"/>
          <ac:spMkLst>
            <pc:docMk/>
            <pc:sldMk cId="1430284547" sldId="2413"/>
            <ac:spMk id="6" creationId="{9A9B7F35-4120-B8A1-9CED-DC9D5BE43BF0}"/>
          </ac:spMkLst>
        </pc:spChg>
        <pc:spChg chg="add mod">
          <ac:chgData name="Caio Oriente Pereira" userId="cf0d9a0a-e124-4c03-aa21-7658adfbd4b5" providerId="ADAL" clId="{025AF431-BEE9-4A0A-A935-00F89D84F9A0}" dt="2023-10-11T17:50:06.566" v="3559"/>
          <ac:spMkLst>
            <pc:docMk/>
            <pc:sldMk cId="1430284547" sldId="2413"/>
            <ac:spMk id="7" creationId="{46A11803-E479-2BDA-732D-2B3D8C4E7828}"/>
          </ac:spMkLst>
        </pc:spChg>
        <pc:spChg chg="add mod">
          <ac:chgData name="Caio Oriente Pereira" userId="cf0d9a0a-e124-4c03-aa21-7658adfbd4b5" providerId="ADAL" clId="{025AF431-BEE9-4A0A-A935-00F89D84F9A0}" dt="2023-10-11T17:55:14.852" v="3800" actId="20577"/>
          <ac:spMkLst>
            <pc:docMk/>
            <pc:sldMk cId="1430284547" sldId="2413"/>
            <ac:spMk id="8" creationId="{14CF9FE5-4C13-165E-F439-3968074C899E}"/>
          </ac:spMkLst>
        </pc:spChg>
        <pc:graphicFrameChg chg="add mod modGraphic">
          <ac:chgData name="Caio Oriente Pereira" userId="cf0d9a0a-e124-4c03-aa21-7658adfbd4b5" providerId="ADAL" clId="{025AF431-BEE9-4A0A-A935-00F89D84F9A0}" dt="2023-10-11T17:56:05.682" v="3804" actId="207"/>
          <ac:graphicFrameMkLst>
            <pc:docMk/>
            <pc:sldMk cId="1430284547" sldId="2413"/>
            <ac:graphicFrameMk id="2" creationId="{0B8DABC8-83DB-1A31-1DA2-7E2A6D040AC1}"/>
          </ac:graphicFrameMkLst>
        </pc:graphicFrameChg>
      </pc:sldChg>
      <pc:sldChg chg="addSp delSp modSp add mod ord">
        <pc:chgData name="Caio Oriente Pereira" userId="cf0d9a0a-e124-4c03-aa21-7658adfbd4b5" providerId="ADAL" clId="{025AF431-BEE9-4A0A-A935-00F89D84F9A0}" dt="2023-10-11T18:50:43.128" v="4847" actId="20577"/>
        <pc:sldMkLst>
          <pc:docMk/>
          <pc:sldMk cId="1042878207" sldId="2414"/>
        </pc:sldMkLst>
        <pc:spChg chg="mod">
          <ac:chgData name="Caio Oriente Pereira" userId="cf0d9a0a-e124-4c03-aa21-7658adfbd4b5" providerId="ADAL" clId="{025AF431-BEE9-4A0A-A935-00F89D84F9A0}" dt="2023-10-11T18:16:57.910" v="3858" actId="6549"/>
          <ac:spMkLst>
            <pc:docMk/>
            <pc:sldMk cId="1042878207" sldId="2414"/>
            <ac:spMk id="3" creationId="{305507F4-E351-B93B-BD52-A2DD35DA6C97}"/>
          </ac:spMkLst>
        </pc:spChg>
        <pc:spChg chg="mod">
          <ac:chgData name="Caio Oriente Pereira" userId="cf0d9a0a-e124-4c03-aa21-7658adfbd4b5" providerId="ADAL" clId="{025AF431-BEE9-4A0A-A935-00F89D84F9A0}" dt="2023-10-11T18:50:43.128" v="4847" actId="20577"/>
          <ac:spMkLst>
            <pc:docMk/>
            <pc:sldMk cId="1042878207" sldId="2414"/>
            <ac:spMk id="6" creationId="{9A9B7F35-4120-B8A1-9CED-DC9D5BE43BF0}"/>
          </ac:spMkLst>
        </pc:spChg>
        <pc:graphicFrameChg chg="add del mod modGraphic">
          <ac:chgData name="Caio Oriente Pereira" userId="cf0d9a0a-e124-4c03-aa21-7658adfbd4b5" providerId="ADAL" clId="{025AF431-BEE9-4A0A-A935-00F89D84F9A0}" dt="2023-10-11T18:17:59.992" v="3872"/>
          <ac:graphicFrameMkLst>
            <pc:docMk/>
            <pc:sldMk cId="1042878207" sldId="2414"/>
            <ac:graphicFrameMk id="2" creationId="{57123242-E382-4713-F053-66649D242341}"/>
          </ac:graphicFrameMkLst>
        </pc:graphicFrameChg>
      </pc:sldChg>
      <pc:sldChg chg="del">
        <pc:chgData name="Caio Oriente Pereira" userId="cf0d9a0a-e124-4c03-aa21-7658adfbd4b5" providerId="ADAL" clId="{025AF431-BEE9-4A0A-A935-00F89D84F9A0}" dt="2023-10-11T12:16:10.132" v="425" actId="47"/>
        <pc:sldMkLst>
          <pc:docMk/>
          <pc:sldMk cId="3607344551" sldId="2414"/>
        </pc:sldMkLst>
      </pc:sldChg>
      <pc:sldChg chg="del">
        <pc:chgData name="Caio Oriente Pereira" userId="cf0d9a0a-e124-4c03-aa21-7658adfbd4b5" providerId="ADAL" clId="{025AF431-BEE9-4A0A-A935-00F89D84F9A0}" dt="2023-10-11T12:16:10.132" v="425" actId="47"/>
        <pc:sldMkLst>
          <pc:docMk/>
          <pc:sldMk cId="1308768919" sldId="2415"/>
        </pc:sldMkLst>
      </pc:sldChg>
      <pc:sldChg chg="addSp delSp modSp add mod ord modTransition modShow">
        <pc:chgData name="Caio Oriente Pereira" userId="cf0d9a0a-e124-4c03-aa21-7658adfbd4b5" providerId="ADAL" clId="{025AF431-BEE9-4A0A-A935-00F89D84F9A0}" dt="2023-10-11T18:20:31.163" v="3931"/>
        <pc:sldMkLst>
          <pc:docMk/>
          <pc:sldMk cId="3471162624" sldId="2415"/>
        </pc:sldMkLst>
        <pc:spChg chg="del">
          <ac:chgData name="Caio Oriente Pereira" userId="cf0d9a0a-e124-4c03-aa21-7658adfbd4b5" providerId="ADAL" clId="{025AF431-BEE9-4A0A-A935-00F89D84F9A0}" dt="2023-10-11T18:18:07.933" v="3875" actId="478"/>
          <ac:spMkLst>
            <pc:docMk/>
            <pc:sldMk cId="3471162624" sldId="2415"/>
            <ac:spMk id="6" creationId="{9A9B7F35-4120-B8A1-9CED-DC9D5BE43BF0}"/>
          </ac:spMkLst>
        </pc:spChg>
        <pc:graphicFrameChg chg="add mod modGraphic">
          <ac:chgData name="Caio Oriente Pereira" userId="cf0d9a0a-e124-4c03-aa21-7658adfbd4b5" providerId="ADAL" clId="{025AF431-BEE9-4A0A-A935-00F89D84F9A0}" dt="2023-10-11T18:19:58.942" v="3925" actId="20577"/>
          <ac:graphicFrameMkLst>
            <pc:docMk/>
            <pc:sldMk cId="3471162624" sldId="2415"/>
            <ac:graphicFrameMk id="2" creationId="{9626C707-67E1-8DAE-38E8-C969D119326C}"/>
          </ac:graphicFrameMkLst>
        </pc:graphicFrameChg>
      </pc:sldChg>
      <pc:sldChg chg="del">
        <pc:chgData name="Caio Oriente Pereira" userId="cf0d9a0a-e124-4c03-aa21-7658adfbd4b5" providerId="ADAL" clId="{025AF431-BEE9-4A0A-A935-00F89D84F9A0}" dt="2023-10-11T12:16:10.132" v="425" actId="47"/>
        <pc:sldMkLst>
          <pc:docMk/>
          <pc:sldMk cId="317178407" sldId="2416"/>
        </pc:sldMkLst>
      </pc:sldChg>
      <pc:sldChg chg="modSp add mod">
        <pc:chgData name="Caio Oriente Pereira" userId="cf0d9a0a-e124-4c03-aa21-7658adfbd4b5" providerId="ADAL" clId="{025AF431-BEE9-4A0A-A935-00F89D84F9A0}" dt="2023-10-11T18:50:44.901" v="4848" actId="20577"/>
        <pc:sldMkLst>
          <pc:docMk/>
          <pc:sldMk cId="2449049747" sldId="2416"/>
        </pc:sldMkLst>
        <pc:spChg chg="mod">
          <ac:chgData name="Caio Oriente Pereira" userId="cf0d9a0a-e124-4c03-aa21-7658adfbd4b5" providerId="ADAL" clId="{025AF431-BEE9-4A0A-A935-00F89D84F9A0}" dt="2023-10-11T18:28:55.294" v="4200"/>
          <ac:spMkLst>
            <pc:docMk/>
            <pc:sldMk cId="2449049747" sldId="2416"/>
            <ac:spMk id="3" creationId="{305507F4-E351-B93B-BD52-A2DD35DA6C97}"/>
          </ac:spMkLst>
        </pc:spChg>
        <pc:spChg chg="mod">
          <ac:chgData name="Caio Oriente Pereira" userId="cf0d9a0a-e124-4c03-aa21-7658adfbd4b5" providerId="ADAL" clId="{025AF431-BEE9-4A0A-A935-00F89D84F9A0}" dt="2023-10-11T18:50:44.901" v="4848" actId="20577"/>
          <ac:spMkLst>
            <pc:docMk/>
            <pc:sldMk cId="2449049747" sldId="2416"/>
            <ac:spMk id="6" creationId="{9A9B7F35-4120-B8A1-9CED-DC9D5BE43BF0}"/>
          </ac:spMkLst>
        </pc:spChg>
      </pc:sldChg>
      <pc:sldChg chg="del">
        <pc:chgData name="Caio Oriente Pereira" userId="cf0d9a0a-e124-4c03-aa21-7658adfbd4b5" providerId="ADAL" clId="{025AF431-BEE9-4A0A-A935-00F89D84F9A0}" dt="2023-10-11T12:16:14.313" v="426" actId="47"/>
        <pc:sldMkLst>
          <pc:docMk/>
          <pc:sldMk cId="66982648" sldId="2146850135"/>
        </pc:sldMkLst>
      </pc:sldChg>
      <pc:sldChg chg="del">
        <pc:chgData name="Caio Oriente Pereira" userId="cf0d9a0a-e124-4c03-aa21-7658adfbd4b5" providerId="ADAL" clId="{025AF431-BEE9-4A0A-A935-00F89D84F9A0}" dt="2023-10-11T12:16:14.313" v="426" actId="47"/>
        <pc:sldMkLst>
          <pc:docMk/>
          <pc:sldMk cId="2889459719" sldId="2146850136"/>
        </pc:sldMkLst>
      </pc:sldChg>
      <pc:sldChg chg="del">
        <pc:chgData name="Caio Oriente Pereira" userId="cf0d9a0a-e124-4c03-aa21-7658adfbd4b5" providerId="ADAL" clId="{025AF431-BEE9-4A0A-A935-00F89D84F9A0}" dt="2023-10-11T12:16:10.132" v="425" actId="47"/>
        <pc:sldMkLst>
          <pc:docMk/>
          <pc:sldMk cId="2008892223" sldId="2146850138"/>
        </pc:sldMkLst>
      </pc:sldChg>
      <pc:sldChg chg="del">
        <pc:chgData name="Caio Oriente Pereira" userId="cf0d9a0a-e124-4c03-aa21-7658adfbd4b5" providerId="ADAL" clId="{025AF431-BEE9-4A0A-A935-00F89D84F9A0}" dt="2023-10-11T12:16:10.132" v="425" actId="47"/>
        <pc:sldMkLst>
          <pc:docMk/>
          <pc:sldMk cId="866997976" sldId="2146850139"/>
        </pc:sldMkLst>
      </pc:sldChg>
      <pc:sldChg chg="del">
        <pc:chgData name="Caio Oriente Pereira" userId="cf0d9a0a-e124-4c03-aa21-7658adfbd4b5" providerId="ADAL" clId="{025AF431-BEE9-4A0A-A935-00F89D84F9A0}" dt="2023-10-11T12:16:10.132" v="425" actId="47"/>
        <pc:sldMkLst>
          <pc:docMk/>
          <pc:sldMk cId="1257880263" sldId="2146850140"/>
        </pc:sldMkLst>
      </pc:sldChg>
      <pc:sldChg chg="del">
        <pc:chgData name="Caio Oriente Pereira" userId="cf0d9a0a-e124-4c03-aa21-7658adfbd4b5" providerId="ADAL" clId="{025AF431-BEE9-4A0A-A935-00F89D84F9A0}" dt="2023-10-11T12:16:10.132" v="425" actId="47"/>
        <pc:sldMkLst>
          <pc:docMk/>
          <pc:sldMk cId="2960977107" sldId="2146850141"/>
        </pc:sldMkLst>
      </pc:sldChg>
      <pc:sldChg chg="del">
        <pc:chgData name="Caio Oriente Pereira" userId="cf0d9a0a-e124-4c03-aa21-7658adfbd4b5" providerId="ADAL" clId="{025AF431-BEE9-4A0A-A935-00F89D84F9A0}" dt="2023-10-11T12:16:10.132" v="425" actId="47"/>
        <pc:sldMkLst>
          <pc:docMk/>
          <pc:sldMk cId="3957329574" sldId="2146850142"/>
        </pc:sldMkLst>
      </pc:sldChg>
      <pc:sldChg chg="del">
        <pc:chgData name="Caio Oriente Pereira" userId="cf0d9a0a-e124-4c03-aa21-7658adfbd4b5" providerId="ADAL" clId="{025AF431-BEE9-4A0A-A935-00F89D84F9A0}" dt="2023-10-11T11:11:19.397" v="78" actId="47"/>
        <pc:sldMkLst>
          <pc:docMk/>
          <pc:sldMk cId="2739843157" sldId="2146850145"/>
        </pc:sldMkLst>
      </pc:sldChg>
      <pc:sldChg chg="del">
        <pc:chgData name="Caio Oriente Pereira" userId="cf0d9a0a-e124-4c03-aa21-7658adfbd4b5" providerId="ADAL" clId="{025AF431-BEE9-4A0A-A935-00F89D84F9A0}" dt="2023-10-11T12:16:10.132" v="425" actId="47"/>
        <pc:sldMkLst>
          <pc:docMk/>
          <pc:sldMk cId="4014638739" sldId="2146850146"/>
        </pc:sldMkLst>
      </pc:sldChg>
    </pc:docChg>
  </pc:docChgLst>
  <pc:docChgLst>
    <pc:chgData name="Julia Beatriz Ramos da Conceicao" userId="546b567e-2b94-4c57-bb61-1a2a59d23f64" providerId="ADAL" clId="{B5D78A2A-05A7-4094-96E0-E47069D9855A}"/>
    <pc:docChg chg="undo custSel addSld delSld modSld sldOrd modSection">
      <pc:chgData name="Julia Beatriz Ramos da Conceicao" userId="546b567e-2b94-4c57-bb61-1a2a59d23f64" providerId="ADAL" clId="{B5D78A2A-05A7-4094-96E0-E47069D9855A}" dt="2023-10-04T19:43:16.351" v="3500" actId="20577"/>
      <pc:docMkLst>
        <pc:docMk/>
      </pc:docMkLst>
      <pc:sldChg chg="addSp modSp del mod ord modShow">
        <pc:chgData name="Julia Beatriz Ramos da Conceicao" userId="546b567e-2b94-4c57-bb61-1a2a59d23f64" providerId="ADAL" clId="{B5D78A2A-05A7-4094-96E0-E47069D9855A}" dt="2023-10-04T02:55:30.274" v="3387" actId="47"/>
        <pc:sldMkLst>
          <pc:docMk/>
          <pc:sldMk cId="2273054326" sldId="2403"/>
        </pc:sldMkLst>
        <pc:spChg chg="add mod">
          <ac:chgData name="Julia Beatriz Ramos da Conceicao" userId="546b567e-2b94-4c57-bb61-1a2a59d23f64" providerId="ADAL" clId="{B5D78A2A-05A7-4094-96E0-E47069D9855A}" dt="2023-10-03T01:26:40.823" v="0"/>
          <ac:spMkLst>
            <pc:docMk/>
            <pc:sldMk cId="2273054326" sldId="2403"/>
            <ac:spMk id="2" creationId="{6B66F335-8E69-C31F-24CA-A21A4D57FEEA}"/>
          </ac:spMkLst>
        </pc:spChg>
        <pc:spChg chg="add mod">
          <ac:chgData name="Julia Beatriz Ramos da Conceicao" userId="546b567e-2b94-4c57-bb61-1a2a59d23f64" providerId="ADAL" clId="{B5D78A2A-05A7-4094-96E0-E47069D9855A}" dt="2023-10-03T01:26:40.823" v="0"/>
          <ac:spMkLst>
            <pc:docMk/>
            <pc:sldMk cId="2273054326" sldId="2403"/>
            <ac:spMk id="4" creationId="{1631DE32-6BF4-8E5B-53FF-C5B626FC321E}"/>
          </ac:spMkLst>
        </pc:spChg>
        <pc:spChg chg="add mod">
          <ac:chgData name="Julia Beatriz Ramos da Conceicao" userId="546b567e-2b94-4c57-bb61-1a2a59d23f64" providerId="ADAL" clId="{B5D78A2A-05A7-4094-96E0-E47069D9855A}" dt="2023-10-03T01:26:40.823" v="0"/>
          <ac:spMkLst>
            <pc:docMk/>
            <pc:sldMk cId="2273054326" sldId="2403"/>
            <ac:spMk id="5" creationId="{EA335E5F-7079-A449-2830-8016564DC12C}"/>
          </ac:spMkLst>
        </pc:spChg>
        <pc:spChg chg="add mod">
          <ac:chgData name="Julia Beatriz Ramos da Conceicao" userId="546b567e-2b94-4c57-bb61-1a2a59d23f64" providerId="ADAL" clId="{B5D78A2A-05A7-4094-96E0-E47069D9855A}" dt="2023-10-03T01:26:40.823" v="0"/>
          <ac:spMkLst>
            <pc:docMk/>
            <pc:sldMk cId="2273054326" sldId="2403"/>
            <ac:spMk id="6" creationId="{F1DC6619-3758-1348-4BCD-1D5A0DA16FEA}"/>
          </ac:spMkLst>
        </pc:spChg>
        <pc:spChg chg="add mod">
          <ac:chgData name="Julia Beatriz Ramos da Conceicao" userId="546b567e-2b94-4c57-bb61-1a2a59d23f64" providerId="ADAL" clId="{B5D78A2A-05A7-4094-96E0-E47069D9855A}" dt="2023-10-03T01:26:40.823" v="0"/>
          <ac:spMkLst>
            <pc:docMk/>
            <pc:sldMk cId="2273054326" sldId="2403"/>
            <ac:spMk id="7" creationId="{859EE721-04D0-8159-55CE-2B6251BB1EEC}"/>
          </ac:spMkLst>
        </pc:spChg>
        <pc:spChg chg="add mod">
          <ac:chgData name="Julia Beatriz Ramos da Conceicao" userId="546b567e-2b94-4c57-bb61-1a2a59d23f64" providerId="ADAL" clId="{B5D78A2A-05A7-4094-96E0-E47069D9855A}" dt="2023-10-03T01:26:40.823" v="0"/>
          <ac:spMkLst>
            <pc:docMk/>
            <pc:sldMk cId="2273054326" sldId="2403"/>
            <ac:spMk id="8" creationId="{2180A9C3-C5A3-70E6-981A-A0632EFA7DE9}"/>
          </ac:spMkLst>
        </pc:spChg>
        <pc:spChg chg="add mod">
          <ac:chgData name="Julia Beatriz Ramos da Conceicao" userId="546b567e-2b94-4c57-bb61-1a2a59d23f64" providerId="ADAL" clId="{B5D78A2A-05A7-4094-96E0-E47069D9855A}" dt="2023-10-03T01:26:40.823" v="0"/>
          <ac:spMkLst>
            <pc:docMk/>
            <pc:sldMk cId="2273054326" sldId="2403"/>
            <ac:spMk id="9" creationId="{47FE7746-9A49-77B5-C72F-B94C59F50378}"/>
          </ac:spMkLst>
        </pc:spChg>
        <pc:spChg chg="mod">
          <ac:chgData name="Julia Beatriz Ramos da Conceicao" userId="546b567e-2b94-4c57-bb61-1a2a59d23f64" providerId="ADAL" clId="{B5D78A2A-05A7-4094-96E0-E47069D9855A}" dt="2023-10-03T01:26:40.823" v="0"/>
          <ac:spMkLst>
            <pc:docMk/>
            <pc:sldMk cId="2273054326" sldId="2403"/>
            <ac:spMk id="11" creationId="{3AEE70A4-9485-CE35-2B73-4E6A5FB45112}"/>
          </ac:spMkLst>
        </pc:spChg>
        <pc:spChg chg="mod">
          <ac:chgData name="Julia Beatriz Ramos da Conceicao" userId="546b567e-2b94-4c57-bb61-1a2a59d23f64" providerId="ADAL" clId="{B5D78A2A-05A7-4094-96E0-E47069D9855A}" dt="2023-10-03T01:26:40.823" v="0"/>
          <ac:spMkLst>
            <pc:docMk/>
            <pc:sldMk cId="2273054326" sldId="2403"/>
            <ac:spMk id="15" creationId="{596A76F2-BD78-570D-1FAB-7D6B4556F490}"/>
          </ac:spMkLst>
        </pc:spChg>
        <pc:spChg chg="mod">
          <ac:chgData name="Julia Beatriz Ramos da Conceicao" userId="546b567e-2b94-4c57-bb61-1a2a59d23f64" providerId="ADAL" clId="{B5D78A2A-05A7-4094-96E0-E47069D9855A}" dt="2023-10-03T01:26:40.823" v="0"/>
          <ac:spMkLst>
            <pc:docMk/>
            <pc:sldMk cId="2273054326" sldId="2403"/>
            <ac:spMk id="18" creationId="{D9B9A6A7-1298-EA31-4391-780B47B99246}"/>
          </ac:spMkLst>
        </pc:spChg>
        <pc:spChg chg="mod">
          <ac:chgData name="Julia Beatriz Ramos da Conceicao" userId="546b567e-2b94-4c57-bb61-1a2a59d23f64" providerId="ADAL" clId="{B5D78A2A-05A7-4094-96E0-E47069D9855A}" dt="2023-10-03T01:26:40.823" v="0"/>
          <ac:spMkLst>
            <pc:docMk/>
            <pc:sldMk cId="2273054326" sldId="2403"/>
            <ac:spMk id="21" creationId="{34C4B737-22B6-69E7-DC5B-219463341F48}"/>
          </ac:spMkLst>
        </pc:spChg>
        <pc:spChg chg="mod">
          <ac:chgData name="Julia Beatriz Ramos da Conceicao" userId="546b567e-2b94-4c57-bb61-1a2a59d23f64" providerId="ADAL" clId="{B5D78A2A-05A7-4094-96E0-E47069D9855A}" dt="2023-10-03T01:26:40.823" v="0"/>
          <ac:spMkLst>
            <pc:docMk/>
            <pc:sldMk cId="2273054326" sldId="2403"/>
            <ac:spMk id="24" creationId="{7C0B3B21-E15A-C39C-214E-CD593FB1BB0C}"/>
          </ac:spMkLst>
        </pc:spChg>
        <pc:spChg chg="mod">
          <ac:chgData name="Julia Beatriz Ramos da Conceicao" userId="546b567e-2b94-4c57-bb61-1a2a59d23f64" providerId="ADAL" clId="{B5D78A2A-05A7-4094-96E0-E47069D9855A}" dt="2023-10-03T01:26:40.823" v="0"/>
          <ac:spMkLst>
            <pc:docMk/>
            <pc:sldMk cId="2273054326" sldId="2403"/>
            <ac:spMk id="27" creationId="{9B1F545C-BBAD-A940-0A7B-AB664EB2C14C}"/>
          </ac:spMkLst>
        </pc:spChg>
        <pc:grpChg chg="add mod">
          <ac:chgData name="Julia Beatriz Ramos da Conceicao" userId="546b567e-2b94-4c57-bb61-1a2a59d23f64" providerId="ADAL" clId="{B5D78A2A-05A7-4094-96E0-E47069D9855A}" dt="2023-10-03T01:26:40.823" v="0"/>
          <ac:grpSpMkLst>
            <pc:docMk/>
            <pc:sldMk cId="2273054326" sldId="2403"/>
            <ac:grpSpMk id="10" creationId="{28E1993B-7E86-B0F3-033B-943A58DFB762}"/>
          </ac:grpSpMkLst>
        </pc:grpChg>
        <pc:grpChg chg="add mod">
          <ac:chgData name="Julia Beatriz Ramos da Conceicao" userId="546b567e-2b94-4c57-bb61-1a2a59d23f64" providerId="ADAL" clId="{B5D78A2A-05A7-4094-96E0-E47069D9855A}" dt="2023-10-03T01:26:40.823" v="0"/>
          <ac:grpSpMkLst>
            <pc:docMk/>
            <pc:sldMk cId="2273054326" sldId="2403"/>
            <ac:grpSpMk id="13" creationId="{B0889EF2-2908-6533-32F1-75D5FBC9203A}"/>
          </ac:grpSpMkLst>
        </pc:grpChg>
        <pc:grpChg chg="add mod">
          <ac:chgData name="Julia Beatriz Ramos da Conceicao" userId="546b567e-2b94-4c57-bb61-1a2a59d23f64" providerId="ADAL" clId="{B5D78A2A-05A7-4094-96E0-E47069D9855A}" dt="2023-10-03T01:26:40.823" v="0"/>
          <ac:grpSpMkLst>
            <pc:docMk/>
            <pc:sldMk cId="2273054326" sldId="2403"/>
            <ac:grpSpMk id="17" creationId="{86E1A46D-31F1-B570-5F59-1DD3FACC0A18}"/>
          </ac:grpSpMkLst>
        </pc:grpChg>
        <pc:grpChg chg="add mod">
          <ac:chgData name="Julia Beatriz Ramos da Conceicao" userId="546b567e-2b94-4c57-bb61-1a2a59d23f64" providerId="ADAL" clId="{B5D78A2A-05A7-4094-96E0-E47069D9855A}" dt="2023-10-03T01:26:40.823" v="0"/>
          <ac:grpSpMkLst>
            <pc:docMk/>
            <pc:sldMk cId="2273054326" sldId="2403"/>
            <ac:grpSpMk id="20" creationId="{2A393D01-1217-0EC8-A5DD-458DD65500ED}"/>
          </ac:grpSpMkLst>
        </pc:grpChg>
        <pc:grpChg chg="add mod">
          <ac:chgData name="Julia Beatriz Ramos da Conceicao" userId="546b567e-2b94-4c57-bb61-1a2a59d23f64" providerId="ADAL" clId="{B5D78A2A-05A7-4094-96E0-E47069D9855A}" dt="2023-10-03T01:26:40.823" v="0"/>
          <ac:grpSpMkLst>
            <pc:docMk/>
            <pc:sldMk cId="2273054326" sldId="2403"/>
            <ac:grpSpMk id="23" creationId="{EE739CAB-0B0D-0129-7610-9E0C5930410E}"/>
          </ac:grpSpMkLst>
        </pc:grpChg>
        <pc:grpChg chg="add mod">
          <ac:chgData name="Julia Beatriz Ramos da Conceicao" userId="546b567e-2b94-4c57-bb61-1a2a59d23f64" providerId="ADAL" clId="{B5D78A2A-05A7-4094-96E0-E47069D9855A}" dt="2023-10-03T01:26:40.823" v="0"/>
          <ac:grpSpMkLst>
            <pc:docMk/>
            <pc:sldMk cId="2273054326" sldId="2403"/>
            <ac:grpSpMk id="26" creationId="{395AF7CD-3C1C-019F-B22D-A42A036B17C4}"/>
          </ac:grpSpMkLst>
        </pc:grpChg>
        <pc:picChg chg="mod">
          <ac:chgData name="Julia Beatriz Ramos da Conceicao" userId="546b567e-2b94-4c57-bb61-1a2a59d23f64" providerId="ADAL" clId="{B5D78A2A-05A7-4094-96E0-E47069D9855A}" dt="2023-10-03T01:26:40.823" v="0"/>
          <ac:picMkLst>
            <pc:docMk/>
            <pc:sldMk cId="2273054326" sldId="2403"/>
            <ac:picMk id="12" creationId="{BFF401C1-C14F-D65B-2FCD-444BF4317ED8}"/>
          </ac:picMkLst>
        </pc:picChg>
        <pc:picChg chg="mod">
          <ac:chgData name="Julia Beatriz Ramos da Conceicao" userId="546b567e-2b94-4c57-bb61-1a2a59d23f64" providerId="ADAL" clId="{B5D78A2A-05A7-4094-96E0-E47069D9855A}" dt="2023-10-03T01:26:40.823" v="0"/>
          <ac:picMkLst>
            <pc:docMk/>
            <pc:sldMk cId="2273054326" sldId="2403"/>
            <ac:picMk id="16" creationId="{0BE84C06-17D7-FD09-D894-8CF98EAC86C1}"/>
          </ac:picMkLst>
        </pc:picChg>
        <pc:picChg chg="mod">
          <ac:chgData name="Julia Beatriz Ramos da Conceicao" userId="546b567e-2b94-4c57-bb61-1a2a59d23f64" providerId="ADAL" clId="{B5D78A2A-05A7-4094-96E0-E47069D9855A}" dt="2023-10-03T01:26:40.823" v="0"/>
          <ac:picMkLst>
            <pc:docMk/>
            <pc:sldMk cId="2273054326" sldId="2403"/>
            <ac:picMk id="19" creationId="{48FAFC73-41D8-A6A1-6DFA-D69D2F8C3FBB}"/>
          </ac:picMkLst>
        </pc:picChg>
        <pc:picChg chg="mod">
          <ac:chgData name="Julia Beatriz Ramos da Conceicao" userId="546b567e-2b94-4c57-bb61-1a2a59d23f64" providerId="ADAL" clId="{B5D78A2A-05A7-4094-96E0-E47069D9855A}" dt="2023-10-03T01:26:40.823" v="0"/>
          <ac:picMkLst>
            <pc:docMk/>
            <pc:sldMk cId="2273054326" sldId="2403"/>
            <ac:picMk id="22" creationId="{9954BD67-8D78-09B5-174E-0B6728964105}"/>
          </ac:picMkLst>
        </pc:picChg>
        <pc:picChg chg="mod">
          <ac:chgData name="Julia Beatriz Ramos da Conceicao" userId="546b567e-2b94-4c57-bb61-1a2a59d23f64" providerId="ADAL" clId="{B5D78A2A-05A7-4094-96E0-E47069D9855A}" dt="2023-10-03T01:26:40.823" v="0"/>
          <ac:picMkLst>
            <pc:docMk/>
            <pc:sldMk cId="2273054326" sldId="2403"/>
            <ac:picMk id="25" creationId="{285B535D-C203-6ECC-72F9-419E366DBD8B}"/>
          </ac:picMkLst>
        </pc:picChg>
        <pc:picChg chg="mod">
          <ac:chgData name="Julia Beatriz Ramos da Conceicao" userId="546b567e-2b94-4c57-bb61-1a2a59d23f64" providerId="ADAL" clId="{B5D78A2A-05A7-4094-96E0-E47069D9855A}" dt="2023-10-03T01:26:40.823" v="0"/>
          <ac:picMkLst>
            <pc:docMk/>
            <pc:sldMk cId="2273054326" sldId="2403"/>
            <ac:picMk id="28" creationId="{6093441A-B320-F93D-4A2C-31463E2316B7}"/>
          </ac:picMkLst>
        </pc:picChg>
      </pc:sldChg>
      <pc:sldChg chg="addSp delSp modSp add mod modNotesTx">
        <pc:chgData name="Julia Beatriz Ramos da Conceicao" userId="546b567e-2b94-4c57-bb61-1a2a59d23f64" providerId="ADAL" clId="{B5D78A2A-05A7-4094-96E0-E47069D9855A}" dt="2023-10-04T02:55:03.194" v="3382" actId="478"/>
        <pc:sldMkLst>
          <pc:docMk/>
          <pc:sldMk cId="4239650200" sldId="2410"/>
        </pc:sldMkLst>
        <pc:spChg chg="mod">
          <ac:chgData name="Julia Beatriz Ramos da Conceicao" userId="546b567e-2b94-4c57-bb61-1a2a59d23f64" providerId="ADAL" clId="{B5D78A2A-05A7-4094-96E0-E47069D9855A}" dt="2023-10-04T02:54:49.556" v="3381" actId="20577"/>
          <ac:spMkLst>
            <pc:docMk/>
            <pc:sldMk cId="4239650200" sldId="2410"/>
            <ac:spMk id="2" creationId="{6B66F335-8E69-C31F-24CA-A21A4D57FEEA}"/>
          </ac:spMkLst>
        </pc:spChg>
        <pc:spChg chg="mod">
          <ac:chgData name="Julia Beatriz Ramos da Conceicao" userId="546b567e-2b94-4c57-bb61-1a2a59d23f64" providerId="ADAL" clId="{B5D78A2A-05A7-4094-96E0-E47069D9855A}" dt="2023-10-03T21:08:11.703" v="1197" actId="20577"/>
          <ac:spMkLst>
            <pc:docMk/>
            <pc:sldMk cId="4239650200" sldId="2410"/>
            <ac:spMk id="3" creationId="{305507F4-E351-B93B-BD52-A2DD35DA6C97}"/>
          </ac:spMkLst>
        </pc:spChg>
        <pc:spChg chg="mod">
          <ac:chgData name="Julia Beatriz Ramos da Conceicao" userId="546b567e-2b94-4c57-bb61-1a2a59d23f64" providerId="ADAL" clId="{B5D78A2A-05A7-4094-96E0-E47069D9855A}" dt="2023-10-03T01:57:47.416" v="328" actId="207"/>
          <ac:spMkLst>
            <pc:docMk/>
            <pc:sldMk cId="4239650200" sldId="2410"/>
            <ac:spMk id="4" creationId="{1631DE32-6BF4-8E5B-53FF-C5B626FC321E}"/>
          </ac:spMkLst>
        </pc:spChg>
        <pc:spChg chg="mod">
          <ac:chgData name="Julia Beatriz Ramos da Conceicao" userId="546b567e-2b94-4c57-bb61-1a2a59d23f64" providerId="ADAL" clId="{B5D78A2A-05A7-4094-96E0-E47069D9855A}" dt="2023-10-03T01:58:04.920" v="331" actId="207"/>
          <ac:spMkLst>
            <pc:docMk/>
            <pc:sldMk cId="4239650200" sldId="2410"/>
            <ac:spMk id="5" creationId="{EA335E5F-7079-A449-2830-8016564DC12C}"/>
          </ac:spMkLst>
        </pc:spChg>
        <pc:spChg chg="mod">
          <ac:chgData name="Julia Beatriz Ramos da Conceicao" userId="546b567e-2b94-4c57-bb61-1a2a59d23f64" providerId="ADAL" clId="{B5D78A2A-05A7-4094-96E0-E47069D9855A}" dt="2023-10-03T01:58:11.520" v="333" actId="207"/>
          <ac:spMkLst>
            <pc:docMk/>
            <pc:sldMk cId="4239650200" sldId="2410"/>
            <ac:spMk id="6" creationId="{F1DC6619-3758-1348-4BCD-1D5A0DA16FEA}"/>
          </ac:spMkLst>
        </pc:spChg>
        <pc:spChg chg="mod">
          <ac:chgData name="Julia Beatriz Ramos da Conceicao" userId="546b567e-2b94-4c57-bb61-1a2a59d23f64" providerId="ADAL" clId="{B5D78A2A-05A7-4094-96E0-E47069D9855A}" dt="2023-10-03T01:58:16.625" v="335" actId="207"/>
          <ac:spMkLst>
            <pc:docMk/>
            <pc:sldMk cId="4239650200" sldId="2410"/>
            <ac:spMk id="7" creationId="{859EE721-04D0-8159-55CE-2B6251BB1EEC}"/>
          </ac:spMkLst>
        </pc:spChg>
        <pc:spChg chg="mod">
          <ac:chgData name="Julia Beatriz Ramos da Conceicao" userId="546b567e-2b94-4c57-bb61-1a2a59d23f64" providerId="ADAL" clId="{B5D78A2A-05A7-4094-96E0-E47069D9855A}" dt="2023-10-03T01:58:20.562" v="337" actId="207"/>
          <ac:spMkLst>
            <pc:docMk/>
            <pc:sldMk cId="4239650200" sldId="2410"/>
            <ac:spMk id="8" creationId="{2180A9C3-C5A3-70E6-981A-A0632EFA7DE9}"/>
          </ac:spMkLst>
        </pc:spChg>
        <pc:spChg chg="mod">
          <ac:chgData name="Julia Beatriz Ramos da Conceicao" userId="546b567e-2b94-4c57-bb61-1a2a59d23f64" providerId="ADAL" clId="{B5D78A2A-05A7-4094-96E0-E47069D9855A}" dt="2023-10-03T01:58:27.529" v="339" actId="207"/>
          <ac:spMkLst>
            <pc:docMk/>
            <pc:sldMk cId="4239650200" sldId="2410"/>
            <ac:spMk id="9" creationId="{47FE7746-9A49-77B5-C72F-B94C59F50378}"/>
          </ac:spMkLst>
        </pc:spChg>
        <pc:spChg chg="mod">
          <ac:chgData name="Julia Beatriz Ramos da Conceicao" userId="546b567e-2b94-4c57-bb61-1a2a59d23f64" providerId="ADAL" clId="{B5D78A2A-05A7-4094-96E0-E47069D9855A}" dt="2023-10-03T01:55:52.335" v="293" actId="1076"/>
          <ac:spMkLst>
            <pc:docMk/>
            <pc:sldMk cId="4239650200" sldId="2410"/>
            <ac:spMk id="11" creationId="{3AEE70A4-9485-CE35-2B73-4E6A5FB45112}"/>
          </ac:spMkLst>
        </pc:spChg>
        <pc:spChg chg="mod">
          <ac:chgData name="Julia Beatriz Ramos da Conceicao" userId="546b567e-2b94-4c57-bb61-1a2a59d23f64" providerId="ADAL" clId="{B5D78A2A-05A7-4094-96E0-E47069D9855A}" dt="2023-10-03T01:41:46.165" v="61" actId="1036"/>
          <ac:spMkLst>
            <pc:docMk/>
            <pc:sldMk cId="4239650200" sldId="2410"/>
            <ac:spMk id="15" creationId="{596A76F2-BD78-570D-1FAB-7D6B4556F490}"/>
          </ac:spMkLst>
        </pc:spChg>
        <pc:spChg chg="mod">
          <ac:chgData name="Julia Beatriz Ramos da Conceicao" userId="546b567e-2b94-4c57-bb61-1a2a59d23f64" providerId="ADAL" clId="{B5D78A2A-05A7-4094-96E0-E47069D9855A}" dt="2023-10-03T01:41:46.165" v="61" actId="1036"/>
          <ac:spMkLst>
            <pc:docMk/>
            <pc:sldMk cId="4239650200" sldId="2410"/>
            <ac:spMk id="18" creationId="{D9B9A6A7-1298-EA31-4391-780B47B99246}"/>
          </ac:spMkLst>
        </pc:spChg>
        <pc:spChg chg="mod">
          <ac:chgData name="Julia Beatriz Ramos da Conceicao" userId="546b567e-2b94-4c57-bb61-1a2a59d23f64" providerId="ADAL" clId="{B5D78A2A-05A7-4094-96E0-E47069D9855A}" dt="2023-10-03T01:41:46.165" v="61" actId="1036"/>
          <ac:spMkLst>
            <pc:docMk/>
            <pc:sldMk cId="4239650200" sldId="2410"/>
            <ac:spMk id="21" creationId="{34C4B737-22B6-69E7-DC5B-219463341F48}"/>
          </ac:spMkLst>
        </pc:spChg>
        <pc:spChg chg="mod">
          <ac:chgData name="Julia Beatriz Ramos da Conceicao" userId="546b567e-2b94-4c57-bb61-1a2a59d23f64" providerId="ADAL" clId="{B5D78A2A-05A7-4094-96E0-E47069D9855A}" dt="2023-10-03T01:41:46.165" v="61" actId="1036"/>
          <ac:spMkLst>
            <pc:docMk/>
            <pc:sldMk cId="4239650200" sldId="2410"/>
            <ac:spMk id="24" creationId="{7C0B3B21-E15A-C39C-214E-CD593FB1BB0C}"/>
          </ac:spMkLst>
        </pc:spChg>
        <pc:spChg chg="mod">
          <ac:chgData name="Julia Beatriz Ramos da Conceicao" userId="546b567e-2b94-4c57-bb61-1a2a59d23f64" providerId="ADAL" clId="{B5D78A2A-05A7-4094-96E0-E47069D9855A}" dt="2023-10-03T01:41:46.165" v="61" actId="1036"/>
          <ac:spMkLst>
            <pc:docMk/>
            <pc:sldMk cId="4239650200" sldId="2410"/>
            <ac:spMk id="27" creationId="{9B1F545C-BBAD-A940-0A7B-AB664EB2C14C}"/>
          </ac:spMkLst>
        </pc:spChg>
        <pc:spChg chg="add del">
          <ac:chgData name="Julia Beatriz Ramos da Conceicao" userId="546b567e-2b94-4c57-bb61-1a2a59d23f64" providerId="ADAL" clId="{B5D78A2A-05A7-4094-96E0-E47069D9855A}" dt="2023-10-03T01:48:54.861" v="173" actId="478"/>
          <ac:spMkLst>
            <pc:docMk/>
            <pc:sldMk cId="4239650200" sldId="2410"/>
            <ac:spMk id="29" creationId="{F1156082-E5B6-30CF-9EC1-0D4888C28E80}"/>
          </ac:spMkLst>
        </pc:spChg>
        <pc:spChg chg="add del mod">
          <ac:chgData name="Julia Beatriz Ramos da Conceicao" userId="546b567e-2b94-4c57-bb61-1a2a59d23f64" providerId="ADAL" clId="{B5D78A2A-05A7-4094-96E0-E47069D9855A}" dt="2023-10-03T01:50:38.233" v="222" actId="478"/>
          <ac:spMkLst>
            <pc:docMk/>
            <pc:sldMk cId="4239650200" sldId="2410"/>
            <ac:spMk id="30" creationId="{B26605AC-75CC-E4A8-09E5-3314F57F1D29}"/>
          </ac:spMkLst>
        </pc:spChg>
        <pc:spChg chg="add mod">
          <ac:chgData name="Julia Beatriz Ramos da Conceicao" userId="546b567e-2b94-4c57-bb61-1a2a59d23f64" providerId="ADAL" clId="{B5D78A2A-05A7-4094-96E0-E47069D9855A}" dt="2023-10-03T01:57:16.077" v="327" actId="1037"/>
          <ac:spMkLst>
            <pc:docMk/>
            <pc:sldMk cId="4239650200" sldId="2410"/>
            <ac:spMk id="33" creationId="{406F201E-AB2E-8DA2-78B7-4889DF3A7B72}"/>
          </ac:spMkLst>
        </pc:spChg>
        <pc:grpChg chg="del mod">
          <ac:chgData name="Julia Beatriz Ramos da Conceicao" userId="546b567e-2b94-4c57-bb61-1a2a59d23f64" providerId="ADAL" clId="{B5D78A2A-05A7-4094-96E0-E47069D9855A}" dt="2023-10-04T02:55:03.194" v="3382" actId="478"/>
          <ac:grpSpMkLst>
            <pc:docMk/>
            <pc:sldMk cId="4239650200" sldId="2410"/>
            <ac:grpSpMk id="10" creationId="{28E1993B-7E86-B0F3-033B-943A58DFB762}"/>
          </ac:grpSpMkLst>
        </pc:grpChg>
        <pc:grpChg chg="del mod">
          <ac:chgData name="Julia Beatriz Ramos da Conceicao" userId="546b567e-2b94-4c57-bb61-1a2a59d23f64" providerId="ADAL" clId="{B5D78A2A-05A7-4094-96E0-E47069D9855A}" dt="2023-10-03T01:45:08.289" v="70" actId="478"/>
          <ac:grpSpMkLst>
            <pc:docMk/>
            <pc:sldMk cId="4239650200" sldId="2410"/>
            <ac:grpSpMk id="13" creationId="{B0889EF2-2908-6533-32F1-75D5FBC9203A}"/>
          </ac:grpSpMkLst>
        </pc:grpChg>
        <pc:grpChg chg="del mod">
          <ac:chgData name="Julia Beatriz Ramos da Conceicao" userId="546b567e-2b94-4c57-bb61-1a2a59d23f64" providerId="ADAL" clId="{B5D78A2A-05A7-4094-96E0-E47069D9855A}" dt="2023-10-03T01:45:08.289" v="70" actId="478"/>
          <ac:grpSpMkLst>
            <pc:docMk/>
            <pc:sldMk cId="4239650200" sldId="2410"/>
            <ac:grpSpMk id="17" creationId="{86E1A46D-31F1-B570-5F59-1DD3FACC0A18}"/>
          </ac:grpSpMkLst>
        </pc:grpChg>
        <pc:grpChg chg="del mod">
          <ac:chgData name="Julia Beatriz Ramos da Conceicao" userId="546b567e-2b94-4c57-bb61-1a2a59d23f64" providerId="ADAL" clId="{B5D78A2A-05A7-4094-96E0-E47069D9855A}" dt="2023-10-03T01:45:08.289" v="70" actId="478"/>
          <ac:grpSpMkLst>
            <pc:docMk/>
            <pc:sldMk cId="4239650200" sldId="2410"/>
            <ac:grpSpMk id="20" creationId="{2A393D01-1217-0EC8-A5DD-458DD65500ED}"/>
          </ac:grpSpMkLst>
        </pc:grpChg>
        <pc:grpChg chg="del mod">
          <ac:chgData name="Julia Beatriz Ramos da Conceicao" userId="546b567e-2b94-4c57-bb61-1a2a59d23f64" providerId="ADAL" clId="{B5D78A2A-05A7-4094-96E0-E47069D9855A}" dt="2023-10-03T01:45:08.289" v="70" actId="478"/>
          <ac:grpSpMkLst>
            <pc:docMk/>
            <pc:sldMk cId="4239650200" sldId="2410"/>
            <ac:grpSpMk id="23" creationId="{EE739CAB-0B0D-0129-7610-9E0C5930410E}"/>
          </ac:grpSpMkLst>
        </pc:grpChg>
        <pc:grpChg chg="del mod">
          <ac:chgData name="Julia Beatriz Ramos da Conceicao" userId="546b567e-2b94-4c57-bb61-1a2a59d23f64" providerId="ADAL" clId="{B5D78A2A-05A7-4094-96E0-E47069D9855A}" dt="2023-10-03T01:45:08.289" v="70" actId="478"/>
          <ac:grpSpMkLst>
            <pc:docMk/>
            <pc:sldMk cId="4239650200" sldId="2410"/>
            <ac:grpSpMk id="26" creationId="{395AF7CD-3C1C-019F-B22D-A42A036B17C4}"/>
          </ac:grpSpMkLst>
        </pc:grpChg>
        <pc:picChg chg="mod">
          <ac:chgData name="Julia Beatriz Ramos da Conceicao" userId="546b567e-2b94-4c57-bb61-1a2a59d23f64" providerId="ADAL" clId="{B5D78A2A-05A7-4094-96E0-E47069D9855A}" dt="2023-10-03T01:55:52.335" v="293" actId="1076"/>
          <ac:picMkLst>
            <pc:docMk/>
            <pc:sldMk cId="4239650200" sldId="2410"/>
            <ac:picMk id="12" creationId="{BFF401C1-C14F-D65B-2FCD-444BF4317ED8}"/>
          </ac:picMkLst>
        </pc:picChg>
        <pc:picChg chg="mod">
          <ac:chgData name="Julia Beatriz Ramos da Conceicao" userId="546b567e-2b94-4c57-bb61-1a2a59d23f64" providerId="ADAL" clId="{B5D78A2A-05A7-4094-96E0-E47069D9855A}" dt="2023-10-03T01:41:46.165" v="61" actId="1036"/>
          <ac:picMkLst>
            <pc:docMk/>
            <pc:sldMk cId="4239650200" sldId="2410"/>
            <ac:picMk id="16" creationId="{0BE84C06-17D7-FD09-D894-8CF98EAC86C1}"/>
          </ac:picMkLst>
        </pc:picChg>
        <pc:picChg chg="mod">
          <ac:chgData name="Julia Beatriz Ramos da Conceicao" userId="546b567e-2b94-4c57-bb61-1a2a59d23f64" providerId="ADAL" clId="{B5D78A2A-05A7-4094-96E0-E47069D9855A}" dt="2023-10-03T01:41:46.165" v="61" actId="1036"/>
          <ac:picMkLst>
            <pc:docMk/>
            <pc:sldMk cId="4239650200" sldId="2410"/>
            <ac:picMk id="19" creationId="{48FAFC73-41D8-A6A1-6DFA-D69D2F8C3FBB}"/>
          </ac:picMkLst>
        </pc:picChg>
        <pc:picChg chg="mod">
          <ac:chgData name="Julia Beatriz Ramos da Conceicao" userId="546b567e-2b94-4c57-bb61-1a2a59d23f64" providerId="ADAL" clId="{B5D78A2A-05A7-4094-96E0-E47069D9855A}" dt="2023-10-03T01:41:46.165" v="61" actId="1036"/>
          <ac:picMkLst>
            <pc:docMk/>
            <pc:sldMk cId="4239650200" sldId="2410"/>
            <ac:picMk id="22" creationId="{9954BD67-8D78-09B5-174E-0B6728964105}"/>
          </ac:picMkLst>
        </pc:picChg>
        <pc:picChg chg="mod">
          <ac:chgData name="Julia Beatriz Ramos da Conceicao" userId="546b567e-2b94-4c57-bb61-1a2a59d23f64" providerId="ADAL" clId="{B5D78A2A-05A7-4094-96E0-E47069D9855A}" dt="2023-10-03T01:41:46.165" v="61" actId="1036"/>
          <ac:picMkLst>
            <pc:docMk/>
            <pc:sldMk cId="4239650200" sldId="2410"/>
            <ac:picMk id="25" creationId="{285B535D-C203-6ECC-72F9-419E366DBD8B}"/>
          </ac:picMkLst>
        </pc:picChg>
        <pc:picChg chg="mod">
          <ac:chgData name="Julia Beatriz Ramos da Conceicao" userId="546b567e-2b94-4c57-bb61-1a2a59d23f64" providerId="ADAL" clId="{B5D78A2A-05A7-4094-96E0-E47069D9855A}" dt="2023-10-03T01:41:46.165" v="61" actId="1036"/>
          <ac:picMkLst>
            <pc:docMk/>
            <pc:sldMk cId="4239650200" sldId="2410"/>
            <ac:picMk id="28" creationId="{6093441A-B320-F93D-4A2C-31463E2316B7}"/>
          </ac:picMkLst>
        </pc:picChg>
        <pc:picChg chg="add mod ord modCrop">
          <ac:chgData name="Julia Beatriz Ramos da Conceicao" userId="546b567e-2b94-4c57-bb61-1a2a59d23f64" providerId="ADAL" clId="{B5D78A2A-05A7-4094-96E0-E47069D9855A}" dt="2023-10-03T01:53:59.788" v="257" actId="732"/>
          <ac:picMkLst>
            <pc:docMk/>
            <pc:sldMk cId="4239650200" sldId="2410"/>
            <ac:picMk id="32" creationId="{7910634F-AE17-01BB-F359-690680E9468D}"/>
          </ac:picMkLst>
        </pc:picChg>
      </pc:sldChg>
      <pc:sldChg chg="addSp delSp modSp add mod">
        <pc:chgData name="Julia Beatriz Ramos da Conceicao" userId="546b567e-2b94-4c57-bb61-1a2a59d23f64" providerId="ADAL" clId="{B5D78A2A-05A7-4094-96E0-E47069D9855A}" dt="2023-10-04T19:43:16.351" v="3500" actId="20577"/>
        <pc:sldMkLst>
          <pc:docMk/>
          <pc:sldMk cId="417396938" sldId="2411"/>
        </pc:sldMkLst>
        <pc:spChg chg="add del mod">
          <ac:chgData name="Julia Beatriz Ramos da Conceicao" userId="546b567e-2b94-4c57-bb61-1a2a59d23f64" providerId="ADAL" clId="{B5D78A2A-05A7-4094-96E0-E47069D9855A}" dt="2023-10-04T19:43:16.351" v="3500" actId="20577"/>
          <ac:spMkLst>
            <pc:docMk/>
            <pc:sldMk cId="417396938" sldId="2411"/>
            <ac:spMk id="2" creationId="{6B66F335-8E69-C31F-24CA-A21A4D57FEEA}"/>
          </ac:spMkLst>
        </pc:spChg>
        <pc:spChg chg="mod">
          <ac:chgData name="Julia Beatriz Ramos da Conceicao" userId="546b567e-2b94-4c57-bb61-1a2a59d23f64" providerId="ADAL" clId="{B5D78A2A-05A7-4094-96E0-E47069D9855A}" dt="2023-10-03T21:08:15.837" v="1198" actId="20577"/>
          <ac:spMkLst>
            <pc:docMk/>
            <pc:sldMk cId="417396938" sldId="2411"/>
            <ac:spMk id="3" creationId="{305507F4-E351-B93B-BD52-A2DD35DA6C97}"/>
          </ac:spMkLst>
        </pc:spChg>
        <pc:spChg chg="add del">
          <ac:chgData name="Julia Beatriz Ramos da Conceicao" userId="546b567e-2b94-4c57-bb61-1a2a59d23f64" providerId="ADAL" clId="{B5D78A2A-05A7-4094-96E0-E47069D9855A}" dt="2023-10-03T02:08:57.358" v="423" actId="478"/>
          <ac:spMkLst>
            <pc:docMk/>
            <pc:sldMk cId="417396938" sldId="2411"/>
            <ac:spMk id="4" creationId="{1631DE32-6BF4-8E5B-53FF-C5B626FC321E}"/>
          </ac:spMkLst>
        </pc:spChg>
        <pc:spChg chg="add del">
          <ac:chgData name="Julia Beatriz Ramos da Conceicao" userId="546b567e-2b94-4c57-bb61-1a2a59d23f64" providerId="ADAL" clId="{B5D78A2A-05A7-4094-96E0-E47069D9855A}" dt="2023-10-03T02:08:57.358" v="423" actId="478"/>
          <ac:spMkLst>
            <pc:docMk/>
            <pc:sldMk cId="417396938" sldId="2411"/>
            <ac:spMk id="5" creationId="{EA335E5F-7079-A449-2830-8016564DC12C}"/>
          </ac:spMkLst>
        </pc:spChg>
        <pc:spChg chg="add del">
          <ac:chgData name="Julia Beatriz Ramos da Conceicao" userId="546b567e-2b94-4c57-bb61-1a2a59d23f64" providerId="ADAL" clId="{B5D78A2A-05A7-4094-96E0-E47069D9855A}" dt="2023-10-03T02:08:57.358" v="423" actId="478"/>
          <ac:spMkLst>
            <pc:docMk/>
            <pc:sldMk cId="417396938" sldId="2411"/>
            <ac:spMk id="6" creationId="{F1DC6619-3758-1348-4BCD-1D5A0DA16FEA}"/>
          </ac:spMkLst>
        </pc:spChg>
        <pc:spChg chg="add del">
          <ac:chgData name="Julia Beatriz Ramos da Conceicao" userId="546b567e-2b94-4c57-bb61-1a2a59d23f64" providerId="ADAL" clId="{B5D78A2A-05A7-4094-96E0-E47069D9855A}" dt="2023-10-03T02:08:57.358" v="423" actId="478"/>
          <ac:spMkLst>
            <pc:docMk/>
            <pc:sldMk cId="417396938" sldId="2411"/>
            <ac:spMk id="7" creationId="{859EE721-04D0-8159-55CE-2B6251BB1EEC}"/>
          </ac:spMkLst>
        </pc:spChg>
        <pc:spChg chg="add del">
          <ac:chgData name="Julia Beatriz Ramos da Conceicao" userId="546b567e-2b94-4c57-bb61-1a2a59d23f64" providerId="ADAL" clId="{B5D78A2A-05A7-4094-96E0-E47069D9855A}" dt="2023-10-03T02:08:57.358" v="423" actId="478"/>
          <ac:spMkLst>
            <pc:docMk/>
            <pc:sldMk cId="417396938" sldId="2411"/>
            <ac:spMk id="8" creationId="{2180A9C3-C5A3-70E6-981A-A0632EFA7DE9}"/>
          </ac:spMkLst>
        </pc:spChg>
        <pc:spChg chg="add del">
          <ac:chgData name="Julia Beatriz Ramos da Conceicao" userId="546b567e-2b94-4c57-bb61-1a2a59d23f64" providerId="ADAL" clId="{B5D78A2A-05A7-4094-96E0-E47069D9855A}" dt="2023-10-03T02:08:57.358" v="423" actId="478"/>
          <ac:spMkLst>
            <pc:docMk/>
            <pc:sldMk cId="417396938" sldId="2411"/>
            <ac:spMk id="9" creationId="{47FE7746-9A49-77B5-C72F-B94C59F50378}"/>
          </ac:spMkLst>
        </pc:spChg>
        <pc:spChg chg="del mod">
          <ac:chgData name="Julia Beatriz Ramos da Conceicao" userId="546b567e-2b94-4c57-bb61-1a2a59d23f64" providerId="ADAL" clId="{B5D78A2A-05A7-4094-96E0-E47069D9855A}" dt="2023-10-04T02:55:12.913" v="3384" actId="478"/>
          <ac:spMkLst>
            <pc:docMk/>
            <pc:sldMk cId="417396938" sldId="2411"/>
            <ac:spMk id="11" creationId="{3AEE70A4-9485-CE35-2B73-4E6A5FB45112}"/>
          </ac:spMkLst>
        </pc:spChg>
        <pc:spChg chg="add mod">
          <ac:chgData name="Julia Beatriz Ramos da Conceicao" userId="546b567e-2b94-4c57-bb61-1a2a59d23f64" providerId="ADAL" clId="{B5D78A2A-05A7-4094-96E0-E47069D9855A}" dt="2023-10-03T02:21:34.970" v="578" actId="1076"/>
          <ac:spMkLst>
            <pc:docMk/>
            <pc:sldMk cId="417396938" sldId="2411"/>
            <ac:spMk id="15" creationId="{D4DDAF96-F9A1-C3AA-A474-8C60198FB968}"/>
          </ac:spMkLst>
        </pc:spChg>
        <pc:spChg chg="add del">
          <ac:chgData name="Julia Beatriz Ramos da Conceicao" userId="546b567e-2b94-4c57-bb61-1a2a59d23f64" providerId="ADAL" clId="{B5D78A2A-05A7-4094-96E0-E47069D9855A}" dt="2023-10-03T02:08:57.358" v="423" actId="478"/>
          <ac:spMkLst>
            <pc:docMk/>
            <pc:sldMk cId="417396938" sldId="2411"/>
            <ac:spMk id="33" creationId="{406F201E-AB2E-8DA2-78B7-4889DF3A7B72}"/>
          </ac:spMkLst>
        </pc:spChg>
        <pc:grpChg chg="del mod">
          <ac:chgData name="Julia Beatriz Ramos da Conceicao" userId="546b567e-2b94-4c57-bb61-1a2a59d23f64" providerId="ADAL" clId="{B5D78A2A-05A7-4094-96E0-E47069D9855A}" dt="2023-10-04T02:55:11.551" v="3383" actId="478"/>
          <ac:grpSpMkLst>
            <pc:docMk/>
            <pc:sldMk cId="417396938" sldId="2411"/>
            <ac:grpSpMk id="10" creationId="{28E1993B-7E86-B0F3-033B-943A58DFB762}"/>
          </ac:grpSpMkLst>
        </pc:grpChg>
        <pc:picChg chg="del">
          <ac:chgData name="Julia Beatriz Ramos da Conceicao" userId="546b567e-2b94-4c57-bb61-1a2a59d23f64" providerId="ADAL" clId="{B5D78A2A-05A7-4094-96E0-E47069D9855A}" dt="2023-10-04T02:55:11.551" v="3383" actId="478"/>
          <ac:picMkLst>
            <pc:docMk/>
            <pc:sldMk cId="417396938" sldId="2411"/>
            <ac:picMk id="12" creationId="{BFF401C1-C14F-D65B-2FCD-444BF4317ED8}"/>
          </ac:picMkLst>
        </pc:picChg>
        <pc:picChg chg="add del mod">
          <ac:chgData name="Julia Beatriz Ramos da Conceicao" userId="546b567e-2b94-4c57-bb61-1a2a59d23f64" providerId="ADAL" clId="{B5D78A2A-05A7-4094-96E0-E47069D9855A}" dt="2023-10-03T02:14:48.983" v="474" actId="478"/>
          <ac:picMkLst>
            <pc:docMk/>
            <pc:sldMk cId="417396938" sldId="2411"/>
            <ac:picMk id="17" creationId="{BBDFCE7C-7341-8C18-F6E2-0B8A72E83C07}"/>
          </ac:picMkLst>
        </pc:picChg>
        <pc:picChg chg="add del mod modCrop">
          <ac:chgData name="Julia Beatriz Ramos da Conceicao" userId="546b567e-2b94-4c57-bb61-1a2a59d23f64" providerId="ADAL" clId="{B5D78A2A-05A7-4094-96E0-E47069D9855A}" dt="2023-10-03T02:20:15.758" v="573" actId="1035"/>
          <ac:picMkLst>
            <pc:docMk/>
            <pc:sldMk cId="417396938" sldId="2411"/>
            <ac:picMk id="19" creationId="{8A478CC3-B575-54FD-041E-06BAE3B796FE}"/>
          </ac:picMkLst>
        </pc:picChg>
        <pc:picChg chg="add del mod modCrop">
          <ac:chgData name="Julia Beatriz Ramos da Conceicao" userId="546b567e-2b94-4c57-bb61-1a2a59d23f64" providerId="ADAL" clId="{B5D78A2A-05A7-4094-96E0-E47069D9855A}" dt="2023-10-03T02:19:05.426" v="543" actId="478"/>
          <ac:picMkLst>
            <pc:docMk/>
            <pc:sldMk cId="417396938" sldId="2411"/>
            <ac:picMk id="21" creationId="{3FC729B1-623F-752B-8E72-DB277077F12C}"/>
          </ac:picMkLst>
        </pc:picChg>
        <pc:picChg chg="add mod modCrop">
          <ac:chgData name="Julia Beatriz Ramos da Conceicao" userId="546b567e-2b94-4c57-bb61-1a2a59d23f64" providerId="ADAL" clId="{B5D78A2A-05A7-4094-96E0-E47069D9855A}" dt="2023-10-03T02:33:46.472" v="777" actId="12788"/>
          <ac:picMkLst>
            <pc:docMk/>
            <pc:sldMk cId="417396938" sldId="2411"/>
            <ac:picMk id="23" creationId="{8E2A8B12-C7D8-92BA-58B3-012A57A097E0}"/>
          </ac:picMkLst>
        </pc:picChg>
        <pc:picChg chg="add del">
          <ac:chgData name="Julia Beatriz Ramos da Conceicao" userId="546b567e-2b94-4c57-bb61-1a2a59d23f64" providerId="ADAL" clId="{B5D78A2A-05A7-4094-96E0-E47069D9855A}" dt="2023-10-03T02:08:57.358" v="423" actId="478"/>
          <ac:picMkLst>
            <pc:docMk/>
            <pc:sldMk cId="417396938" sldId="2411"/>
            <ac:picMk id="32" creationId="{7910634F-AE17-01BB-F359-690680E9468D}"/>
          </ac:picMkLst>
        </pc:picChg>
      </pc:sldChg>
      <pc:sldChg chg="add del">
        <pc:chgData name="Julia Beatriz Ramos da Conceicao" userId="546b567e-2b94-4c57-bb61-1a2a59d23f64" providerId="ADAL" clId="{B5D78A2A-05A7-4094-96E0-E47069D9855A}" dt="2023-10-03T02:08:48.711" v="420"/>
        <pc:sldMkLst>
          <pc:docMk/>
          <pc:sldMk cId="2152492990" sldId="2412"/>
        </pc:sldMkLst>
      </pc:sldChg>
      <pc:sldChg chg="addSp delSp modSp add mod">
        <pc:chgData name="Julia Beatriz Ramos da Conceicao" userId="546b567e-2b94-4c57-bb61-1a2a59d23f64" providerId="ADAL" clId="{B5D78A2A-05A7-4094-96E0-E47069D9855A}" dt="2023-10-03T02:31:38.680" v="713" actId="3064"/>
        <pc:sldMkLst>
          <pc:docMk/>
          <pc:sldMk cId="4091770084" sldId="2412"/>
        </pc:sldMkLst>
        <pc:spChg chg="add mod">
          <ac:chgData name="Julia Beatriz Ramos da Conceicao" userId="546b567e-2b94-4c57-bb61-1a2a59d23f64" providerId="ADAL" clId="{B5D78A2A-05A7-4094-96E0-E47069D9855A}" dt="2023-10-03T02:25:46.434" v="599" actId="207"/>
          <ac:spMkLst>
            <pc:docMk/>
            <pc:sldMk cId="4091770084" sldId="2412"/>
            <ac:spMk id="4" creationId="{11337EF0-46CA-08F3-E62A-60C10CE4B071}"/>
          </ac:spMkLst>
        </pc:spChg>
        <pc:spChg chg="mod topLvl">
          <ac:chgData name="Julia Beatriz Ramos da Conceicao" userId="546b567e-2b94-4c57-bb61-1a2a59d23f64" providerId="ADAL" clId="{B5D78A2A-05A7-4094-96E0-E47069D9855A}" dt="2023-10-03T02:31:38.680" v="713" actId="3064"/>
          <ac:spMkLst>
            <pc:docMk/>
            <pc:sldMk cId="4091770084" sldId="2412"/>
            <ac:spMk id="7" creationId="{090D6D05-C0F8-2F56-EDAC-3290F1E9B5FE}"/>
          </ac:spMkLst>
        </pc:spChg>
        <pc:spChg chg="mod topLvl">
          <ac:chgData name="Julia Beatriz Ramos da Conceicao" userId="546b567e-2b94-4c57-bb61-1a2a59d23f64" providerId="ADAL" clId="{B5D78A2A-05A7-4094-96E0-E47069D9855A}" dt="2023-10-03T02:31:20.467" v="707" actId="113"/>
          <ac:spMkLst>
            <pc:docMk/>
            <pc:sldMk cId="4091770084" sldId="2412"/>
            <ac:spMk id="8" creationId="{150B3B5C-0341-BD8D-9009-AD51F71A065C}"/>
          </ac:spMkLst>
        </pc:spChg>
        <pc:spChg chg="mod topLvl">
          <ac:chgData name="Julia Beatriz Ramos da Conceicao" userId="546b567e-2b94-4c57-bb61-1a2a59d23f64" providerId="ADAL" clId="{B5D78A2A-05A7-4094-96E0-E47069D9855A}" dt="2023-10-03T02:31:14.100" v="705" actId="113"/>
          <ac:spMkLst>
            <pc:docMk/>
            <pc:sldMk cId="4091770084" sldId="2412"/>
            <ac:spMk id="9" creationId="{EAE623E8-278E-A062-BA37-DC0157C834E4}"/>
          </ac:spMkLst>
        </pc:spChg>
        <pc:spChg chg="mod topLvl">
          <ac:chgData name="Julia Beatriz Ramos da Conceicao" userId="546b567e-2b94-4c57-bb61-1a2a59d23f64" providerId="ADAL" clId="{B5D78A2A-05A7-4094-96E0-E47069D9855A}" dt="2023-10-03T02:30:47.807" v="703" actId="207"/>
          <ac:spMkLst>
            <pc:docMk/>
            <pc:sldMk cId="4091770084" sldId="2412"/>
            <ac:spMk id="13" creationId="{4820E3C4-6F64-5A08-5763-C07AED3B5C98}"/>
          </ac:spMkLst>
        </pc:spChg>
        <pc:spChg chg="mod topLvl">
          <ac:chgData name="Julia Beatriz Ramos da Conceicao" userId="546b567e-2b94-4c57-bb61-1a2a59d23f64" providerId="ADAL" clId="{B5D78A2A-05A7-4094-96E0-E47069D9855A}" dt="2023-10-03T02:30:57.065" v="704" actId="207"/>
          <ac:spMkLst>
            <pc:docMk/>
            <pc:sldMk cId="4091770084" sldId="2412"/>
            <ac:spMk id="16" creationId="{7AD77AB2-BA56-6955-392D-C2C4A786E1F8}"/>
          </ac:spMkLst>
        </pc:spChg>
        <pc:spChg chg="mod topLvl">
          <ac:chgData name="Julia Beatriz Ramos da Conceicao" userId="546b567e-2b94-4c57-bb61-1a2a59d23f64" providerId="ADAL" clId="{B5D78A2A-05A7-4094-96E0-E47069D9855A}" dt="2023-10-03T02:30:41.871" v="702" actId="207"/>
          <ac:spMkLst>
            <pc:docMk/>
            <pc:sldMk cId="4091770084" sldId="2412"/>
            <ac:spMk id="17" creationId="{D7E6AA7B-E69B-9557-D736-9BCA2CF4527A}"/>
          </ac:spMkLst>
        </pc:spChg>
        <pc:grpChg chg="del mod">
          <ac:chgData name="Julia Beatriz Ramos da Conceicao" userId="546b567e-2b94-4c57-bb61-1a2a59d23f64" providerId="ADAL" clId="{B5D78A2A-05A7-4094-96E0-E47069D9855A}" dt="2023-10-03T02:28:25.059" v="683" actId="165"/>
          <ac:grpSpMkLst>
            <pc:docMk/>
            <pc:sldMk cId="4091770084" sldId="2412"/>
            <ac:grpSpMk id="6" creationId="{BEBBE593-8398-1D6E-CFB1-799F686F67E6}"/>
          </ac:grpSpMkLst>
        </pc:grpChg>
        <pc:graphicFrameChg chg="add del mod modGraphic">
          <ac:chgData name="Julia Beatriz Ramos da Conceicao" userId="546b567e-2b94-4c57-bb61-1a2a59d23f64" providerId="ADAL" clId="{B5D78A2A-05A7-4094-96E0-E47069D9855A}" dt="2023-10-03T02:28:11.069" v="680" actId="18245"/>
          <ac:graphicFrameMkLst>
            <pc:docMk/>
            <pc:sldMk cId="4091770084" sldId="2412"/>
            <ac:graphicFrameMk id="5" creationId="{DA29B6C2-2D1F-6CE5-CC63-5264CCEAA0A7}"/>
          </ac:graphicFrameMkLst>
        </pc:graphicFrameChg>
      </pc:sldChg>
      <pc:sldChg chg="addSp delSp modSp add mod">
        <pc:chgData name="Julia Beatriz Ramos da Conceicao" userId="546b567e-2b94-4c57-bb61-1a2a59d23f64" providerId="ADAL" clId="{B5D78A2A-05A7-4094-96E0-E47069D9855A}" dt="2023-10-03T02:46:40.444" v="1068" actId="3064"/>
        <pc:sldMkLst>
          <pc:docMk/>
          <pc:sldMk cId="2005211359" sldId="2413"/>
        </pc:sldMkLst>
        <pc:spChg chg="del mod">
          <ac:chgData name="Julia Beatriz Ramos da Conceicao" userId="546b567e-2b94-4c57-bb61-1a2a59d23f64" providerId="ADAL" clId="{B5D78A2A-05A7-4094-96E0-E47069D9855A}" dt="2023-10-03T02:41:25.365" v="920" actId="478"/>
          <ac:spMkLst>
            <pc:docMk/>
            <pc:sldMk cId="2005211359" sldId="2413"/>
            <ac:spMk id="2" creationId="{6B66F335-8E69-C31F-24CA-A21A4D57FEEA}"/>
          </ac:spMkLst>
        </pc:spChg>
        <pc:spChg chg="mod">
          <ac:chgData name="Julia Beatriz Ramos da Conceicao" userId="546b567e-2b94-4c57-bb61-1a2a59d23f64" providerId="ADAL" clId="{B5D78A2A-05A7-4094-96E0-E47069D9855A}" dt="2023-10-03T02:36:25.924" v="882" actId="20577"/>
          <ac:spMkLst>
            <pc:docMk/>
            <pc:sldMk cId="2005211359" sldId="2413"/>
            <ac:spMk id="3" creationId="{305507F4-E351-B93B-BD52-A2DD35DA6C97}"/>
          </ac:spMkLst>
        </pc:spChg>
        <pc:spChg chg="add del">
          <ac:chgData name="Julia Beatriz Ramos da Conceicao" userId="546b567e-2b94-4c57-bb61-1a2a59d23f64" providerId="ADAL" clId="{B5D78A2A-05A7-4094-96E0-E47069D9855A}" dt="2023-10-03T02:38:11.105" v="888" actId="22"/>
          <ac:spMkLst>
            <pc:docMk/>
            <pc:sldMk cId="2005211359" sldId="2413"/>
            <ac:spMk id="5" creationId="{8AFCF26B-18C9-055A-3B7C-C7090592AE42}"/>
          </ac:spMkLst>
        </pc:spChg>
        <pc:spChg chg="add mod">
          <ac:chgData name="Julia Beatriz Ramos da Conceicao" userId="546b567e-2b94-4c57-bb61-1a2a59d23f64" providerId="ADAL" clId="{B5D78A2A-05A7-4094-96E0-E47069D9855A}" dt="2023-10-03T02:46:40.444" v="1068" actId="3064"/>
          <ac:spMkLst>
            <pc:docMk/>
            <pc:sldMk cId="2005211359" sldId="2413"/>
            <ac:spMk id="6" creationId="{BAFE5D47-189A-675D-2A18-695720558139}"/>
          </ac:spMkLst>
        </pc:spChg>
        <pc:spChg chg="del">
          <ac:chgData name="Julia Beatriz Ramos da Conceicao" userId="546b567e-2b94-4c57-bb61-1a2a59d23f64" providerId="ADAL" clId="{B5D78A2A-05A7-4094-96E0-E47069D9855A}" dt="2023-10-03T02:34:14.695" v="780" actId="478"/>
          <ac:spMkLst>
            <pc:docMk/>
            <pc:sldMk cId="2005211359" sldId="2413"/>
            <ac:spMk id="15" creationId="{D4DDAF96-F9A1-C3AA-A474-8C60198FB968}"/>
          </ac:spMkLst>
        </pc:spChg>
        <pc:grpChg chg="del">
          <ac:chgData name="Julia Beatriz Ramos da Conceicao" userId="546b567e-2b94-4c57-bb61-1a2a59d23f64" providerId="ADAL" clId="{B5D78A2A-05A7-4094-96E0-E47069D9855A}" dt="2023-10-03T02:34:18.124" v="782" actId="478"/>
          <ac:grpSpMkLst>
            <pc:docMk/>
            <pc:sldMk cId="2005211359" sldId="2413"/>
            <ac:grpSpMk id="10" creationId="{28E1993B-7E86-B0F3-033B-943A58DFB762}"/>
          </ac:grpSpMkLst>
        </pc:grpChg>
        <pc:picChg chg="del">
          <ac:chgData name="Julia Beatriz Ramos da Conceicao" userId="546b567e-2b94-4c57-bb61-1a2a59d23f64" providerId="ADAL" clId="{B5D78A2A-05A7-4094-96E0-E47069D9855A}" dt="2023-10-03T02:34:07.084" v="779" actId="478"/>
          <ac:picMkLst>
            <pc:docMk/>
            <pc:sldMk cId="2005211359" sldId="2413"/>
            <ac:picMk id="19" creationId="{8A478CC3-B575-54FD-041E-06BAE3B796FE}"/>
          </ac:picMkLst>
        </pc:picChg>
        <pc:picChg chg="del">
          <ac:chgData name="Julia Beatriz Ramos da Conceicao" userId="546b567e-2b94-4c57-bb61-1a2a59d23f64" providerId="ADAL" clId="{B5D78A2A-05A7-4094-96E0-E47069D9855A}" dt="2023-10-03T02:34:15.544" v="781" actId="478"/>
          <ac:picMkLst>
            <pc:docMk/>
            <pc:sldMk cId="2005211359" sldId="2413"/>
            <ac:picMk id="23" creationId="{8E2A8B12-C7D8-92BA-58B3-012A57A097E0}"/>
          </ac:picMkLst>
        </pc:picChg>
      </pc:sldChg>
      <pc:sldChg chg="addSp delSp modSp add mod ord">
        <pc:chgData name="Julia Beatriz Ramos da Conceicao" userId="546b567e-2b94-4c57-bb61-1a2a59d23f64" providerId="ADAL" clId="{B5D78A2A-05A7-4094-96E0-E47069D9855A}" dt="2023-10-04T02:35:52.919" v="2749" actId="1037"/>
        <pc:sldMkLst>
          <pc:docMk/>
          <pc:sldMk cId="3607344551" sldId="2414"/>
        </pc:sldMkLst>
        <pc:spChg chg="mod">
          <ac:chgData name="Julia Beatriz Ramos da Conceicao" userId="546b567e-2b94-4c57-bb61-1a2a59d23f64" providerId="ADAL" clId="{B5D78A2A-05A7-4094-96E0-E47069D9855A}" dt="2023-10-04T01:17:59.607" v="1615" actId="1035"/>
          <ac:spMkLst>
            <pc:docMk/>
            <pc:sldMk cId="3607344551" sldId="2414"/>
            <ac:spMk id="2" creationId="{6B66F335-8E69-C31F-24CA-A21A4D57FEEA}"/>
          </ac:spMkLst>
        </pc:spChg>
        <pc:spChg chg="add del">
          <ac:chgData name="Julia Beatriz Ramos da Conceicao" userId="546b567e-2b94-4c57-bb61-1a2a59d23f64" providerId="ADAL" clId="{B5D78A2A-05A7-4094-96E0-E47069D9855A}" dt="2023-10-04T01:04:22.587" v="1245" actId="478"/>
          <ac:spMkLst>
            <pc:docMk/>
            <pc:sldMk cId="3607344551" sldId="2414"/>
            <ac:spMk id="4" creationId="{17921B88-DEAC-3F02-9765-3751F77F67D8}"/>
          </ac:spMkLst>
        </pc:spChg>
        <pc:spChg chg="add del">
          <ac:chgData name="Julia Beatriz Ramos da Conceicao" userId="546b567e-2b94-4c57-bb61-1a2a59d23f64" providerId="ADAL" clId="{B5D78A2A-05A7-4094-96E0-E47069D9855A}" dt="2023-10-04T01:05:04.410" v="1247" actId="11529"/>
          <ac:spMkLst>
            <pc:docMk/>
            <pc:sldMk cId="3607344551" sldId="2414"/>
            <ac:spMk id="5" creationId="{F3811AA0-C399-B278-1847-AFA2C0423DCA}"/>
          </ac:spMkLst>
        </pc:spChg>
        <pc:spChg chg="mod">
          <ac:chgData name="Julia Beatriz Ramos da Conceicao" userId="546b567e-2b94-4c57-bb61-1a2a59d23f64" providerId="ADAL" clId="{B5D78A2A-05A7-4094-96E0-E47069D9855A}" dt="2023-10-04T01:08:16.843" v="1249" actId="208"/>
          <ac:spMkLst>
            <pc:docMk/>
            <pc:sldMk cId="3607344551" sldId="2414"/>
            <ac:spMk id="8" creationId="{FC6D7020-43ED-998A-D075-E70D0B93219B}"/>
          </ac:spMkLst>
        </pc:spChg>
        <pc:spChg chg="mod">
          <ac:chgData name="Julia Beatriz Ramos da Conceicao" userId="546b567e-2b94-4c57-bb61-1a2a59d23f64" providerId="ADAL" clId="{B5D78A2A-05A7-4094-96E0-E47069D9855A}" dt="2023-10-04T01:08:16.843" v="1249" actId="208"/>
          <ac:spMkLst>
            <pc:docMk/>
            <pc:sldMk cId="3607344551" sldId="2414"/>
            <ac:spMk id="10" creationId="{BFE9D023-6978-9102-4C01-40C25BC8E17D}"/>
          </ac:spMkLst>
        </pc:spChg>
        <pc:spChg chg="add mod ord">
          <ac:chgData name="Julia Beatriz Ramos da Conceicao" userId="546b567e-2b94-4c57-bb61-1a2a59d23f64" providerId="ADAL" clId="{B5D78A2A-05A7-4094-96E0-E47069D9855A}" dt="2023-10-04T01:15:16.575" v="1314" actId="164"/>
          <ac:spMkLst>
            <pc:docMk/>
            <pc:sldMk cId="3607344551" sldId="2414"/>
            <ac:spMk id="19" creationId="{D7882BDF-A666-416C-8DCF-3E9EED7ADEF4}"/>
          </ac:spMkLst>
        </pc:spChg>
        <pc:spChg chg="add mod ord">
          <ac:chgData name="Julia Beatriz Ramos da Conceicao" userId="546b567e-2b94-4c57-bb61-1a2a59d23f64" providerId="ADAL" clId="{B5D78A2A-05A7-4094-96E0-E47069D9855A}" dt="2023-10-04T02:35:52.919" v="2749" actId="1037"/>
          <ac:spMkLst>
            <pc:docMk/>
            <pc:sldMk cId="3607344551" sldId="2414"/>
            <ac:spMk id="29" creationId="{51C45902-CD75-A0CE-651A-8C35D439730D}"/>
          </ac:spMkLst>
        </pc:spChg>
        <pc:spChg chg="add mod">
          <ac:chgData name="Julia Beatriz Ramos da Conceicao" userId="546b567e-2b94-4c57-bb61-1a2a59d23f64" providerId="ADAL" clId="{B5D78A2A-05A7-4094-96E0-E47069D9855A}" dt="2023-10-04T01:17:11.845" v="1596" actId="12788"/>
          <ac:spMkLst>
            <pc:docMk/>
            <pc:sldMk cId="3607344551" sldId="2414"/>
            <ac:spMk id="37" creationId="{08D70C40-2FD9-9E8C-78EE-DFFB1D31A6F9}"/>
          </ac:spMkLst>
        </pc:spChg>
        <pc:spChg chg="add mod">
          <ac:chgData name="Julia Beatriz Ramos da Conceicao" userId="546b567e-2b94-4c57-bb61-1a2a59d23f64" providerId="ADAL" clId="{B5D78A2A-05A7-4094-96E0-E47069D9855A}" dt="2023-10-04T01:17:11.845" v="1596" actId="12788"/>
          <ac:spMkLst>
            <pc:docMk/>
            <pc:sldMk cId="3607344551" sldId="2414"/>
            <ac:spMk id="38" creationId="{BC728816-EFA9-943A-4EDB-8FE16801D4A2}"/>
          </ac:spMkLst>
        </pc:spChg>
        <pc:spChg chg="add mod">
          <ac:chgData name="Julia Beatriz Ramos da Conceicao" userId="546b567e-2b94-4c57-bb61-1a2a59d23f64" providerId="ADAL" clId="{B5D78A2A-05A7-4094-96E0-E47069D9855A}" dt="2023-10-04T01:17:11.845" v="1596" actId="12788"/>
          <ac:spMkLst>
            <pc:docMk/>
            <pc:sldMk cId="3607344551" sldId="2414"/>
            <ac:spMk id="39" creationId="{221FCC9C-A558-D55F-26C3-A9C5BFC4B1DB}"/>
          </ac:spMkLst>
        </pc:spChg>
        <pc:spChg chg="add mod">
          <ac:chgData name="Julia Beatriz Ramos da Conceicao" userId="546b567e-2b94-4c57-bb61-1a2a59d23f64" providerId="ADAL" clId="{B5D78A2A-05A7-4094-96E0-E47069D9855A}" dt="2023-10-04T01:17:11.845" v="1596" actId="12788"/>
          <ac:spMkLst>
            <pc:docMk/>
            <pc:sldMk cId="3607344551" sldId="2414"/>
            <ac:spMk id="40" creationId="{BF64C4FA-ACF8-AFF1-EEFA-13C52746A7FD}"/>
          </ac:spMkLst>
        </pc:spChg>
        <pc:grpChg chg="add del mod">
          <ac:chgData name="Julia Beatriz Ramos da Conceicao" userId="546b567e-2b94-4c57-bb61-1a2a59d23f64" providerId="ADAL" clId="{B5D78A2A-05A7-4094-96E0-E47069D9855A}" dt="2023-10-04T01:08:27.679" v="1252" actId="478"/>
          <ac:grpSpMkLst>
            <pc:docMk/>
            <pc:sldMk cId="3607344551" sldId="2414"/>
            <ac:grpSpMk id="6" creationId="{3DDA8F81-7A8D-55E3-5CF2-58405B5E5C96}"/>
          </ac:grpSpMkLst>
        </pc:grpChg>
        <pc:grpChg chg="add mod">
          <ac:chgData name="Julia Beatriz Ramos da Conceicao" userId="546b567e-2b94-4c57-bb61-1a2a59d23f64" providerId="ADAL" clId="{B5D78A2A-05A7-4094-96E0-E47069D9855A}" dt="2023-10-04T01:15:19.976" v="1320" actId="1036"/>
          <ac:grpSpMkLst>
            <pc:docMk/>
            <pc:sldMk cId="3607344551" sldId="2414"/>
            <ac:grpSpMk id="36" creationId="{1BD057FD-EB0A-C355-A688-5B6731606CC4}"/>
          </ac:grpSpMkLst>
        </pc:grpChg>
        <pc:picChg chg="add del mod">
          <ac:chgData name="Julia Beatriz Ramos da Conceicao" userId="546b567e-2b94-4c57-bb61-1a2a59d23f64" providerId="ADAL" clId="{B5D78A2A-05A7-4094-96E0-E47069D9855A}" dt="2023-10-04T01:09:44.790" v="1262" actId="478"/>
          <ac:picMkLst>
            <pc:docMk/>
            <pc:sldMk cId="3607344551" sldId="2414"/>
            <ac:picMk id="12" creationId="{61842E2D-DC34-9152-9D98-8249EC865EE7}"/>
          </ac:picMkLst>
        </pc:picChg>
        <pc:cxnChg chg="mod">
          <ac:chgData name="Julia Beatriz Ramos da Conceicao" userId="546b567e-2b94-4c57-bb61-1a2a59d23f64" providerId="ADAL" clId="{B5D78A2A-05A7-4094-96E0-E47069D9855A}" dt="2023-10-04T01:08:27.679" v="1252" actId="478"/>
          <ac:cxnSpMkLst>
            <pc:docMk/>
            <pc:sldMk cId="3607344551" sldId="2414"/>
            <ac:cxnSpMk id="7" creationId="{6084AB00-D42C-EA9C-492C-D3D884D98B73}"/>
          </ac:cxnSpMkLst>
        </pc:cxnChg>
        <pc:cxnChg chg="mod">
          <ac:chgData name="Julia Beatriz Ramos da Conceicao" userId="546b567e-2b94-4c57-bb61-1a2a59d23f64" providerId="ADAL" clId="{B5D78A2A-05A7-4094-96E0-E47069D9855A}" dt="2023-10-04T01:08:27.679" v="1252" actId="478"/>
          <ac:cxnSpMkLst>
            <pc:docMk/>
            <pc:sldMk cId="3607344551" sldId="2414"/>
            <ac:cxnSpMk id="9" creationId="{233682F3-FA77-E7FC-1794-11A7733E9605}"/>
          </ac:cxnSpMkLst>
        </pc:cxnChg>
        <pc:cxnChg chg="mod">
          <ac:chgData name="Julia Beatriz Ramos da Conceicao" userId="546b567e-2b94-4c57-bb61-1a2a59d23f64" providerId="ADAL" clId="{B5D78A2A-05A7-4094-96E0-E47069D9855A}" dt="2023-10-04T01:08:16.843" v="1249" actId="208"/>
          <ac:cxnSpMkLst>
            <pc:docMk/>
            <pc:sldMk cId="3607344551" sldId="2414"/>
            <ac:cxnSpMk id="11" creationId="{54B07245-C18F-793F-D2BF-7F01E30CFE59}"/>
          </ac:cxnSpMkLst>
        </pc:cxnChg>
        <pc:cxnChg chg="add del mod">
          <ac:chgData name="Julia Beatriz Ramos da Conceicao" userId="546b567e-2b94-4c57-bb61-1a2a59d23f64" providerId="ADAL" clId="{B5D78A2A-05A7-4094-96E0-E47069D9855A}" dt="2023-10-04T01:10:24.849" v="1266" actId="11529"/>
          <ac:cxnSpMkLst>
            <pc:docMk/>
            <pc:sldMk cId="3607344551" sldId="2414"/>
            <ac:cxnSpMk id="15" creationId="{20428C71-EB0E-0E27-A8CC-4FD3EE84A1D1}"/>
          </ac:cxnSpMkLst>
        </pc:cxnChg>
        <pc:cxnChg chg="add del">
          <ac:chgData name="Julia Beatriz Ramos da Conceicao" userId="546b567e-2b94-4c57-bb61-1a2a59d23f64" providerId="ADAL" clId="{B5D78A2A-05A7-4094-96E0-E47069D9855A}" dt="2023-10-04T01:10:44.065" v="1268" actId="11529"/>
          <ac:cxnSpMkLst>
            <pc:docMk/>
            <pc:sldMk cId="3607344551" sldId="2414"/>
            <ac:cxnSpMk id="18" creationId="{64575DAE-D0A1-9F2E-AB84-2BA06D45994E}"/>
          </ac:cxnSpMkLst>
        </pc:cxnChg>
        <pc:cxnChg chg="add del mod">
          <ac:chgData name="Julia Beatriz Ramos da Conceicao" userId="546b567e-2b94-4c57-bb61-1a2a59d23f64" providerId="ADAL" clId="{B5D78A2A-05A7-4094-96E0-E47069D9855A}" dt="2023-10-04T01:11:44.613" v="1276" actId="11529"/>
          <ac:cxnSpMkLst>
            <pc:docMk/>
            <pc:sldMk cId="3607344551" sldId="2414"/>
            <ac:cxnSpMk id="21" creationId="{08F89A87-3D21-8FFD-8A08-78974A7A1BB6}"/>
          </ac:cxnSpMkLst>
        </pc:cxnChg>
        <pc:cxnChg chg="add mod ord">
          <ac:chgData name="Julia Beatriz Ramos da Conceicao" userId="546b567e-2b94-4c57-bb61-1a2a59d23f64" providerId="ADAL" clId="{B5D78A2A-05A7-4094-96E0-E47069D9855A}" dt="2023-10-04T01:15:16.575" v="1314" actId="164"/>
          <ac:cxnSpMkLst>
            <pc:docMk/>
            <pc:sldMk cId="3607344551" sldId="2414"/>
            <ac:cxnSpMk id="23" creationId="{A297967E-DECD-5656-C445-3B66D759EF37}"/>
          </ac:cxnSpMkLst>
        </pc:cxnChg>
        <pc:cxnChg chg="add mod ord">
          <ac:chgData name="Julia Beatriz Ramos da Conceicao" userId="546b567e-2b94-4c57-bb61-1a2a59d23f64" providerId="ADAL" clId="{B5D78A2A-05A7-4094-96E0-E47069D9855A}" dt="2023-10-04T01:15:16.575" v="1314" actId="164"/>
          <ac:cxnSpMkLst>
            <pc:docMk/>
            <pc:sldMk cId="3607344551" sldId="2414"/>
            <ac:cxnSpMk id="26" creationId="{855E0DDC-2496-8686-A0BF-54C7D6813229}"/>
          </ac:cxnSpMkLst>
        </pc:cxnChg>
        <pc:cxnChg chg="add mod ord">
          <ac:chgData name="Julia Beatriz Ramos da Conceicao" userId="546b567e-2b94-4c57-bb61-1a2a59d23f64" providerId="ADAL" clId="{B5D78A2A-05A7-4094-96E0-E47069D9855A}" dt="2023-10-04T02:35:52.919" v="2749" actId="1037"/>
          <ac:cxnSpMkLst>
            <pc:docMk/>
            <pc:sldMk cId="3607344551" sldId="2414"/>
            <ac:cxnSpMk id="32" creationId="{C984778A-D67A-793D-D28C-37069010352E}"/>
          </ac:cxnSpMkLst>
        </pc:cxnChg>
      </pc:sldChg>
      <pc:sldChg chg="addSp delSp modSp add mod modAnim">
        <pc:chgData name="Julia Beatriz Ramos da Conceicao" userId="546b567e-2b94-4c57-bb61-1a2a59d23f64" providerId="ADAL" clId="{B5D78A2A-05A7-4094-96E0-E47069D9855A}" dt="2023-10-04T02:55:18.849" v="3386" actId="478"/>
        <pc:sldMkLst>
          <pc:docMk/>
          <pc:sldMk cId="1308768919" sldId="2415"/>
        </pc:sldMkLst>
        <pc:spChg chg="del mod">
          <ac:chgData name="Julia Beatriz Ramos da Conceicao" userId="546b567e-2b94-4c57-bb61-1a2a59d23f64" providerId="ADAL" clId="{B5D78A2A-05A7-4094-96E0-E47069D9855A}" dt="2023-10-03T02:43:10.627" v="1024" actId="478"/>
          <ac:spMkLst>
            <pc:docMk/>
            <pc:sldMk cId="1308768919" sldId="2415"/>
            <ac:spMk id="2" creationId="{6B66F335-8E69-C31F-24CA-A21A4D57FEEA}"/>
          </ac:spMkLst>
        </pc:spChg>
        <pc:spChg chg="add mod">
          <ac:chgData name="Julia Beatriz Ramos da Conceicao" userId="546b567e-2b94-4c57-bb61-1a2a59d23f64" providerId="ADAL" clId="{B5D78A2A-05A7-4094-96E0-E47069D9855A}" dt="2023-10-03T02:43:39.444" v="1033" actId="1036"/>
          <ac:spMkLst>
            <pc:docMk/>
            <pc:sldMk cId="1308768919" sldId="2415"/>
            <ac:spMk id="4" creationId="{C3C2F5C9-0C7A-E976-4BF1-A5CDA2E852BA}"/>
          </ac:spMkLst>
        </pc:spChg>
        <pc:spChg chg="add mod">
          <ac:chgData name="Julia Beatriz Ramos da Conceicao" userId="546b567e-2b94-4c57-bb61-1a2a59d23f64" providerId="ADAL" clId="{B5D78A2A-05A7-4094-96E0-E47069D9855A}" dt="2023-10-03T02:43:39.444" v="1033" actId="1036"/>
          <ac:spMkLst>
            <pc:docMk/>
            <pc:sldMk cId="1308768919" sldId="2415"/>
            <ac:spMk id="5" creationId="{958C479E-BFBD-D907-85B3-17BD185E34CC}"/>
          </ac:spMkLst>
        </pc:spChg>
        <pc:spChg chg="add mod">
          <ac:chgData name="Julia Beatriz Ramos da Conceicao" userId="546b567e-2b94-4c57-bb61-1a2a59d23f64" providerId="ADAL" clId="{B5D78A2A-05A7-4094-96E0-E47069D9855A}" dt="2023-10-03T02:43:39.444" v="1033" actId="1036"/>
          <ac:spMkLst>
            <pc:docMk/>
            <pc:sldMk cId="1308768919" sldId="2415"/>
            <ac:spMk id="6" creationId="{3B1C52DF-E11F-5079-42C6-2B4AC916F2E4}"/>
          </ac:spMkLst>
        </pc:spChg>
        <pc:spChg chg="add mod">
          <ac:chgData name="Julia Beatriz Ramos da Conceicao" userId="546b567e-2b94-4c57-bb61-1a2a59d23f64" providerId="ADAL" clId="{B5D78A2A-05A7-4094-96E0-E47069D9855A}" dt="2023-10-03T02:43:39.444" v="1033" actId="1036"/>
          <ac:spMkLst>
            <pc:docMk/>
            <pc:sldMk cId="1308768919" sldId="2415"/>
            <ac:spMk id="7" creationId="{F2746BAA-B763-AD6E-930B-2089B90AF9E2}"/>
          </ac:spMkLst>
        </pc:spChg>
        <pc:spChg chg="mod">
          <ac:chgData name="Julia Beatriz Ramos da Conceicao" userId="546b567e-2b94-4c57-bb61-1a2a59d23f64" providerId="ADAL" clId="{B5D78A2A-05A7-4094-96E0-E47069D9855A}" dt="2023-10-03T02:43:39.444" v="1033" actId="1036"/>
          <ac:spMkLst>
            <pc:docMk/>
            <pc:sldMk cId="1308768919" sldId="2415"/>
            <ac:spMk id="9" creationId="{7E48AB56-5BFD-6CC3-E39B-F83EC5E0E1BD}"/>
          </ac:spMkLst>
        </pc:spChg>
        <pc:spChg chg="mod">
          <ac:chgData name="Julia Beatriz Ramos da Conceicao" userId="546b567e-2b94-4c57-bb61-1a2a59d23f64" providerId="ADAL" clId="{B5D78A2A-05A7-4094-96E0-E47069D9855A}" dt="2023-10-03T02:43:39.444" v="1033" actId="1036"/>
          <ac:spMkLst>
            <pc:docMk/>
            <pc:sldMk cId="1308768919" sldId="2415"/>
            <ac:spMk id="13" creationId="{6F57339E-B0A3-CF17-C454-8000C92DF11A}"/>
          </ac:spMkLst>
        </pc:spChg>
        <pc:spChg chg="del">
          <ac:chgData name="Julia Beatriz Ramos da Conceicao" userId="546b567e-2b94-4c57-bb61-1a2a59d23f64" providerId="ADAL" clId="{B5D78A2A-05A7-4094-96E0-E47069D9855A}" dt="2023-10-03T02:43:06.059" v="1021" actId="478"/>
          <ac:spMkLst>
            <pc:docMk/>
            <pc:sldMk cId="1308768919" sldId="2415"/>
            <ac:spMk id="15" creationId="{D4DDAF96-F9A1-C3AA-A474-8C60198FB968}"/>
          </ac:spMkLst>
        </pc:spChg>
        <pc:spChg chg="mod">
          <ac:chgData name="Julia Beatriz Ramos da Conceicao" userId="546b567e-2b94-4c57-bb61-1a2a59d23f64" providerId="ADAL" clId="{B5D78A2A-05A7-4094-96E0-E47069D9855A}" dt="2023-10-03T02:43:39.444" v="1033" actId="1036"/>
          <ac:spMkLst>
            <pc:docMk/>
            <pc:sldMk cId="1308768919" sldId="2415"/>
            <ac:spMk id="16" creationId="{7D3D38F9-768C-3CE4-1A9E-EA1A8BA86CBC}"/>
          </ac:spMkLst>
        </pc:spChg>
        <pc:spChg chg="mod">
          <ac:chgData name="Julia Beatriz Ramos da Conceicao" userId="546b567e-2b94-4c57-bb61-1a2a59d23f64" providerId="ADAL" clId="{B5D78A2A-05A7-4094-96E0-E47069D9855A}" dt="2023-10-03T02:43:39.444" v="1033" actId="1036"/>
          <ac:spMkLst>
            <pc:docMk/>
            <pc:sldMk cId="1308768919" sldId="2415"/>
            <ac:spMk id="17" creationId="{90E7BCB0-FAA8-3074-D6B2-40F3347000F2}"/>
          </ac:spMkLst>
        </pc:spChg>
        <pc:spChg chg="add mod">
          <ac:chgData name="Julia Beatriz Ramos da Conceicao" userId="546b567e-2b94-4c57-bb61-1a2a59d23f64" providerId="ADAL" clId="{B5D78A2A-05A7-4094-96E0-E47069D9855A}" dt="2023-10-03T02:43:39.444" v="1033" actId="1036"/>
          <ac:spMkLst>
            <pc:docMk/>
            <pc:sldMk cId="1308768919" sldId="2415"/>
            <ac:spMk id="18" creationId="{9DBEC737-A209-0309-6EEB-3B49BBED6975}"/>
          </ac:spMkLst>
        </pc:spChg>
        <pc:spChg chg="add mod">
          <ac:chgData name="Julia Beatriz Ramos da Conceicao" userId="546b567e-2b94-4c57-bb61-1a2a59d23f64" providerId="ADAL" clId="{B5D78A2A-05A7-4094-96E0-E47069D9855A}" dt="2023-10-03T02:43:39.444" v="1033" actId="1036"/>
          <ac:spMkLst>
            <pc:docMk/>
            <pc:sldMk cId="1308768919" sldId="2415"/>
            <ac:spMk id="25" creationId="{0315BAFE-E0B9-1358-ADF2-C5C20C0DAAAC}"/>
          </ac:spMkLst>
        </pc:spChg>
        <pc:spChg chg="add mod">
          <ac:chgData name="Julia Beatriz Ramos da Conceicao" userId="546b567e-2b94-4c57-bb61-1a2a59d23f64" providerId="ADAL" clId="{B5D78A2A-05A7-4094-96E0-E47069D9855A}" dt="2023-10-03T02:43:39.444" v="1033" actId="1036"/>
          <ac:spMkLst>
            <pc:docMk/>
            <pc:sldMk cId="1308768919" sldId="2415"/>
            <ac:spMk id="26" creationId="{914A7A56-BCB4-5429-61BC-CE2EF9772B83}"/>
          </ac:spMkLst>
        </pc:spChg>
        <pc:spChg chg="add mod">
          <ac:chgData name="Julia Beatriz Ramos da Conceicao" userId="546b567e-2b94-4c57-bb61-1a2a59d23f64" providerId="ADAL" clId="{B5D78A2A-05A7-4094-96E0-E47069D9855A}" dt="2023-10-03T02:43:39.444" v="1033" actId="1036"/>
          <ac:spMkLst>
            <pc:docMk/>
            <pc:sldMk cId="1308768919" sldId="2415"/>
            <ac:spMk id="27" creationId="{B4C750BD-7621-B811-847C-0BFCE03C8BF2}"/>
          </ac:spMkLst>
        </pc:spChg>
        <pc:spChg chg="add mod">
          <ac:chgData name="Julia Beatriz Ramos da Conceicao" userId="546b567e-2b94-4c57-bb61-1a2a59d23f64" providerId="ADAL" clId="{B5D78A2A-05A7-4094-96E0-E47069D9855A}" dt="2023-10-03T02:43:39.444" v="1033" actId="1036"/>
          <ac:spMkLst>
            <pc:docMk/>
            <pc:sldMk cId="1308768919" sldId="2415"/>
            <ac:spMk id="28" creationId="{166DF493-8121-2490-30BE-EA3206931E3D}"/>
          </ac:spMkLst>
        </pc:spChg>
        <pc:spChg chg="add mod">
          <ac:chgData name="Julia Beatriz Ramos da Conceicao" userId="546b567e-2b94-4c57-bb61-1a2a59d23f64" providerId="ADAL" clId="{B5D78A2A-05A7-4094-96E0-E47069D9855A}" dt="2023-10-03T02:43:39.444" v="1033" actId="1036"/>
          <ac:spMkLst>
            <pc:docMk/>
            <pc:sldMk cId="1308768919" sldId="2415"/>
            <ac:spMk id="29" creationId="{BE86492B-E4AF-9BF3-FDAB-87A49309217F}"/>
          </ac:spMkLst>
        </pc:spChg>
        <pc:spChg chg="add mod">
          <ac:chgData name="Julia Beatriz Ramos da Conceicao" userId="546b567e-2b94-4c57-bb61-1a2a59d23f64" providerId="ADAL" clId="{B5D78A2A-05A7-4094-96E0-E47069D9855A}" dt="2023-10-03T02:43:39.444" v="1033" actId="1036"/>
          <ac:spMkLst>
            <pc:docMk/>
            <pc:sldMk cId="1308768919" sldId="2415"/>
            <ac:spMk id="30" creationId="{573D5767-76D3-F018-976E-40C415B2AD82}"/>
          </ac:spMkLst>
        </pc:spChg>
        <pc:spChg chg="add mod">
          <ac:chgData name="Julia Beatriz Ramos da Conceicao" userId="546b567e-2b94-4c57-bb61-1a2a59d23f64" providerId="ADAL" clId="{B5D78A2A-05A7-4094-96E0-E47069D9855A}" dt="2023-10-03T02:43:39.444" v="1033" actId="1036"/>
          <ac:spMkLst>
            <pc:docMk/>
            <pc:sldMk cId="1308768919" sldId="2415"/>
            <ac:spMk id="31" creationId="{98E96CE1-0D50-484A-23A8-D2134699A780}"/>
          </ac:spMkLst>
        </pc:spChg>
        <pc:spChg chg="mod">
          <ac:chgData name="Julia Beatriz Ramos da Conceicao" userId="546b567e-2b94-4c57-bb61-1a2a59d23f64" providerId="ADAL" clId="{B5D78A2A-05A7-4094-96E0-E47069D9855A}" dt="2023-10-03T02:43:39.444" v="1033" actId="1036"/>
          <ac:spMkLst>
            <pc:docMk/>
            <pc:sldMk cId="1308768919" sldId="2415"/>
            <ac:spMk id="33" creationId="{A10CA3CB-695D-791C-1D3F-475F1841AFF7}"/>
          </ac:spMkLst>
        </pc:spChg>
        <pc:spChg chg="mod">
          <ac:chgData name="Julia Beatriz Ramos da Conceicao" userId="546b567e-2b94-4c57-bb61-1a2a59d23f64" providerId="ADAL" clId="{B5D78A2A-05A7-4094-96E0-E47069D9855A}" dt="2023-10-03T02:43:39.444" v="1033" actId="1036"/>
          <ac:spMkLst>
            <pc:docMk/>
            <pc:sldMk cId="1308768919" sldId="2415"/>
            <ac:spMk id="34" creationId="{FA9956DB-A01B-BDFD-088A-710A87D68CCF}"/>
          </ac:spMkLst>
        </pc:spChg>
        <pc:spChg chg="mod">
          <ac:chgData name="Julia Beatriz Ramos da Conceicao" userId="546b567e-2b94-4c57-bb61-1a2a59d23f64" providerId="ADAL" clId="{B5D78A2A-05A7-4094-96E0-E47069D9855A}" dt="2023-10-03T02:43:39.444" v="1033" actId="1036"/>
          <ac:spMkLst>
            <pc:docMk/>
            <pc:sldMk cId="1308768919" sldId="2415"/>
            <ac:spMk id="36" creationId="{A87AF3DB-63E5-D15A-8E01-5D41ACB24A74}"/>
          </ac:spMkLst>
        </pc:spChg>
        <pc:spChg chg="mod">
          <ac:chgData name="Julia Beatriz Ramos da Conceicao" userId="546b567e-2b94-4c57-bb61-1a2a59d23f64" providerId="ADAL" clId="{B5D78A2A-05A7-4094-96E0-E47069D9855A}" dt="2023-10-03T02:43:39.444" v="1033" actId="1036"/>
          <ac:spMkLst>
            <pc:docMk/>
            <pc:sldMk cId="1308768919" sldId="2415"/>
            <ac:spMk id="37" creationId="{28DF1E8E-B61C-BE00-35CA-ADAB3343A63B}"/>
          </ac:spMkLst>
        </pc:spChg>
        <pc:spChg chg="add mod">
          <ac:chgData name="Julia Beatriz Ramos da Conceicao" userId="546b567e-2b94-4c57-bb61-1a2a59d23f64" providerId="ADAL" clId="{B5D78A2A-05A7-4094-96E0-E47069D9855A}" dt="2023-10-03T02:43:39.444" v="1033" actId="1036"/>
          <ac:spMkLst>
            <pc:docMk/>
            <pc:sldMk cId="1308768919" sldId="2415"/>
            <ac:spMk id="38" creationId="{AF9D27F3-E666-FFE8-1518-769CB515B461}"/>
          </ac:spMkLst>
        </pc:spChg>
        <pc:spChg chg="add mod">
          <ac:chgData name="Julia Beatriz Ramos da Conceicao" userId="546b567e-2b94-4c57-bb61-1a2a59d23f64" providerId="ADAL" clId="{B5D78A2A-05A7-4094-96E0-E47069D9855A}" dt="2023-10-03T02:43:39.444" v="1033" actId="1036"/>
          <ac:spMkLst>
            <pc:docMk/>
            <pc:sldMk cId="1308768919" sldId="2415"/>
            <ac:spMk id="40" creationId="{68875044-D214-B2AF-6745-BE5ADE8BF13B}"/>
          </ac:spMkLst>
        </pc:spChg>
        <pc:spChg chg="add mod">
          <ac:chgData name="Julia Beatriz Ramos da Conceicao" userId="546b567e-2b94-4c57-bb61-1a2a59d23f64" providerId="ADAL" clId="{B5D78A2A-05A7-4094-96E0-E47069D9855A}" dt="2023-10-03T02:43:39.444" v="1033" actId="1036"/>
          <ac:spMkLst>
            <pc:docMk/>
            <pc:sldMk cId="1308768919" sldId="2415"/>
            <ac:spMk id="42" creationId="{695EE998-0B2C-2CE3-5A15-00F436D5BD8E}"/>
          </ac:spMkLst>
        </pc:spChg>
        <pc:spChg chg="add del mod">
          <ac:chgData name="Julia Beatriz Ramos da Conceicao" userId="546b567e-2b94-4c57-bb61-1a2a59d23f64" providerId="ADAL" clId="{B5D78A2A-05A7-4094-96E0-E47069D9855A}" dt="2023-10-03T02:44:38.660" v="1035"/>
          <ac:spMkLst>
            <pc:docMk/>
            <pc:sldMk cId="1308768919" sldId="2415"/>
            <ac:spMk id="43" creationId="{3BF9EFC8-CC26-DCB5-54FA-CBA50601C1C1}"/>
          </ac:spMkLst>
        </pc:spChg>
        <pc:spChg chg="add del mod">
          <ac:chgData name="Julia Beatriz Ramos da Conceicao" userId="546b567e-2b94-4c57-bb61-1a2a59d23f64" providerId="ADAL" clId="{B5D78A2A-05A7-4094-96E0-E47069D9855A}" dt="2023-10-03T02:44:38.660" v="1035"/>
          <ac:spMkLst>
            <pc:docMk/>
            <pc:sldMk cId="1308768919" sldId="2415"/>
            <ac:spMk id="44" creationId="{6702F3B0-9EB1-9362-0866-CAEDC99DE7FF}"/>
          </ac:spMkLst>
        </pc:spChg>
        <pc:spChg chg="add del mod">
          <ac:chgData name="Julia Beatriz Ramos da Conceicao" userId="546b567e-2b94-4c57-bb61-1a2a59d23f64" providerId="ADAL" clId="{B5D78A2A-05A7-4094-96E0-E47069D9855A}" dt="2023-10-03T02:44:38.660" v="1035"/>
          <ac:spMkLst>
            <pc:docMk/>
            <pc:sldMk cId="1308768919" sldId="2415"/>
            <ac:spMk id="45" creationId="{E99A21BE-8238-ADE8-9AF6-15843FB8D89D}"/>
          </ac:spMkLst>
        </pc:spChg>
        <pc:spChg chg="add del mod">
          <ac:chgData name="Julia Beatriz Ramos da Conceicao" userId="546b567e-2b94-4c57-bb61-1a2a59d23f64" providerId="ADAL" clId="{B5D78A2A-05A7-4094-96E0-E47069D9855A}" dt="2023-10-03T02:44:38.660" v="1035"/>
          <ac:spMkLst>
            <pc:docMk/>
            <pc:sldMk cId="1308768919" sldId="2415"/>
            <ac:spMk id="46" creationId="{02EAC921-B1EB-66EF-079C-756DD464CD76}"/>
          </ac:spMkLst>
        </pc:spChg>
        <pc:spChg chg="mod">
          <ac:chgData name="Julia Beatriz Ramos da Conceicao" userId="546b567e-2b94-4c57-bb61-1a2a59d23f64" providerId="ADAL" clId="{B5D78A2A-05A7-4094-96E0-E47069D9855A}" dt="2023-10-03T02:44:37.280" v="1034"/>
          <ac:spMkLst>
            <pc:docMk/>
            <pc:sldMk cId="1308768919" sldId="2415"/>
            <ac:spMk id="48" creationId="{4B6ECD3A-315A-763C-7F1B-F32A85557B36}"/>
          </ac:spMkLst>
        </pc:spChg>
        <pc:spChg chg="mod">
          <ac:chgData name="Julia Beatriz Ramos da Conceicao" userId="546b567e-2b94-4c57-bb61-1a2a59d23f64" providerId="ADAL" clId="{B5D78A2A-05A7-4094-96E0-E47069D9855A}" dt="2023-10-03T02:44:37.280" v="1034"/>
          <ac:spMkLst>
            <pc:docMk/>
            <pc:sldMk cId="1308768919" sldId="2415"/>
            <ac:spMk id="49" creationId="{071A35AA-11C2-1ABD-93CF-6F76A206B01C}"/>
          </ac:spMkLst>
        </pc:spChg>
        <pc:spChg chg="mod">
          <ac:chgData name="Julia Beatriz Ramos da Conceicao" userId="546b567e-2b94-4c57-bb61-1a2a59d23f64" providerId="ADAL" clId="{B5D78A2A-05A7-4094-96E0-E47069D9855A}" dt="2023-10-03T02:44:37.280" v="1034"/>
          <ac:spMkLst>
            <pc:docMk/>
            <pc:sldMk cId="1308768919" sldId="2415"/>
            <ac:spMk id="50" creationId="{32F38CE7-C57C-9C39-672D-A5D8D8E7DD98}"/>
          </ac:spMkLst>
        </pc:spChg>
        <pc:spChg chg="mod">
          <ac:chgData name="Julia Beatriz Ramos da Conceicao" userId="546b567e-2b94-4c57-bb61-1a2a59d23f64" providerId="ADAL" clId="{B5D78A2A-05A7-4094-96E0-E47069D9855A}" dt="2023-10-03T02:44:37.280" v="1034"/>
          <ac:spMkLst>
            <pc:docMk/>
            <pc:sldMk cId="1308768919" sldId="2415"/>
            <ac:spMk id="51" creationId="{D434760C-E2C1-B7F2-43B3-B509978306FA}"/>
          </ac:spMkLst>
        </pc:spChg>
        <pc:spChg chg="add del mod">
          <ac:chgData name="Julia Beatriz Ramos da Conceicao" userId="546b567e-2b94-4c57-bb61-1a2a59d23f64" providerId="ADAL" clId="{B5D78A2A-05A7-4094-96E0-E47069D9855A}" dt="2023-10-03T02:44:38.660" v="1035"/>
          <ac:spMkLst>
            <pc:docMk/>
            <pc:sldMk cId="1308768919" sldId="2415"/>
            <ac:spMk id="52" creationId="{9ADA00D2-FEA2-789C-6275-083B4F58C9FB}"/>
          </ac:spMkLst>
        </pc:spChg>
        <pc:spChg chg="add del mod">
          <ac:chgData name="Julia Beatriz Ramos da Conceicao" userId="546b567e-2b94-4c57-bb61-1a2a59d23f64" providerId="ADAL" clId="{B5D78A2A-05A7-4094-96E0-E47069D9855A}" dt="2023-10-03T02:44:38.660" v="1035"/>
          <ac:spMkLst>
            <pc:docMk/>
            <pc:sldMk cId="1308768919" sldId="2415"/>
            <ac:spMk id="57" creationId="{917F92F9-0F74-0AA2-3276-4F1F2DE600B8}"/>
          </ac:spMkLst>
        </pc:spChg>
        <pc:spChg chg="add del mod">
          <ac:chgData name="Julia Beatriz Ramos da Conceicao" userId="546b567e-2b94-4c57-bb61-1a2a59d23f64" providerId="ADAL" clId="{B5D78A2A-05A7-4094-96E0-E47069D9855A}" dt="2023-10-03T02:44:38.660" v="1035"/>
          <ac:spMkLst>
            <pc:docMk/>
            <pc:sldMk cId="1308768919" sldId="2415"/>
            <ac:spMk id="58" creationId="{CBFCC2C0-D967-2141-9184-467C3178A101}"/>
          </ac:spMkLst>
        </pc:spChg>
        <pc:spChg chg="add del mod">
          <ac:chgData name="Julia Beatriz Ramos da Conceicao" userId="546b567e-2b94-4c57-bb61-1a2a59d23f64" providerId="ADAL" clId="{B5D78A2A-05A7-4094-96E0-E47069D9855A}" dt="2023-10-03T02:44:38.660" v="1035"/>
          <ac:spMkLst>
            <pc:docMk/>
            <pc:sldMk cId="1308768919" sldId="2415"/>
            <ac:spMk id="59" creationId="{D4D19B84-1F51-88B9-05F6-3C125CF6E300}"/>
          </ac:spMkLst>
        </pc:spChg>
        <pc:spChg chg="add del mod">
          <ac:chgData name="Julia Beatriz Ramos da Conceicao" userId="546b567e-2b94-4c57-bb61-1a2a59d23f64" providerId="ADAL" clId="{B5D78A2A-05A7-4094-96E0-E47069D9855A}" dt="2023-10-03T02:44:38.660" v="1035"/>
          <ac:spMkLst>
            <pc:docMk/>
            <pc:sldMk cId="1308768919" sldId="2415"/>
            <ac:spMk id="60" creationId="{757A90E3-F6C8-9350-2C2B-CBBDFEC8FB2D}"/>
          </ac:spMkLst>
        </pc:spChg>
        <pc:spChg chg="add del mod">
          <ac:chgData name="Julia Beatriz Ramos da Conceicao" userId="546b567e-2b94-4c57-bb61-1a2a59d23f64" providerId="ADAL" clId="{B5D78A2A-05A7-4094-96E0-E47069D9855A}" dt="2023-10-03T02:44:38.660" v="1035"/>
          <ac:spMkLst>
            <pc:docMk/>
            <pc:sldMk cId="1308768919" sldId="2415"/>
            <ac:spMk id="61" creationId="{DC1705F2-70C6-9081-1575-C788A56D332A}"/>
          </ac:spMkLst>
        </pc:spChg>
        <pc:spChg chg="add del mod">
          <ac:chgData name="Julia Beatriz Ramos da Conceicao" userId="546b567e-2b94-4c57-bb61-1a2a59d23f64" providerId="ADAL" clId="{B5D78A2A-05A7-4094-96E0-E47069D9855A}" dt="2023-10-03T02:44:38.660" v="1035"/>
          <ac:spMkLst>
            <pc:docMk/>
            <pc:sldMk cId="1308768919" sldId="2415"/>
            <ac:spMk id="62" creationId="{730559A5-3635-230C-5B72-4C03CB3A063B}"/>
          </ac:spMkLst>
        </pc:spChg>
        <pc:spChg chg="add del mod">
          <ac:chgData name="Julia Beatriz Ramos da Conceicao" userId="546b567e-2b94-4c57-bb61-1a2a59d23f64" providerId="ADAL" clId="{B5D78A2A-05A7-4094-96E0-E47069D9855A}" dt="2023-10-03T02:44:38.660" v="1035"/>
          <ac:spMkLst>
            <pc:docMk/>
            <pc:sldMk cId="1308768919" sldId="2415"/>
            <ac:spMk id="63" creationId="{A974FE2F-B87B-3232-BF3A-A9286496277B}"/>
          </ac:spMkLst>
        </pc:spChg>
        <pc:spChg chg="mod">
          <ac:chgData name="Julia Beatriz Ramos da Conceicao" userId="546b567e-2b94-4c57-bb61-1a2a59d23f64" providerId="ADAL" clId="{B5D78A2A-05A7-4094-96E0-E47069D9855A}" dt="2023-10-03T02:44:37.280" v="1034"/>
          <ac:spMkLst>
            <pc:docMk/>
            <pc:sldMk cId="1308768919" sldId="2415"/>
            <ac:spMk id="65" creationId="{A0F40E49-5834-05BD-EDE3-B4ECB89BFE78}"/>
          </ac:spMkLst>
        </pc:spChg>
        <pc:spChg chg="mod">
          <ac:chgData name="Julia Beatriz Ramos da Conceicao" userId="546b567e-2b94-4c57-bb61-1a2a59d23f64" providerId="ADAL" clId="{B5D78A2A-05A7-4094-96E0-E47069D9855A}" dt="2023-10-03T02:44:37.280" v="1034"/>
          <ac:spMkLst>
            <pc:docMk/>
            <pc:sldMk cId="1308768919" sldId="2415"/>
            <ac:spMk id="66" creationId="{95D8FEF9-00E3-9F9A-9D69-467B1A67237E}"/>
          </ac:spMkLst>
        </pc:spChg>
        <pc:spChg chg="mod">
          <ac:chgData name="Julia Beatriz Ramos da Conceicao" userId="546b567e-2b94-4c57-bb61-1a2a59d23f64" providerId="ADAL" clId="{B5D78A2A-05A7-4094-96E0-E47069D9855A}" dt="2023-10-03T02:44:37.280" v="1034"/>
          <ac:spMkLst>
            <pc:docMk/>
            <pc:sldMk cId="1308768919" sldId="2415"/>
            <ac:spMk id="68" creationId="{2835A99D-16F5-7B58-32CB-71105BA4BE6D}"/>
          </ac:spMkLst>
        </pc:spChg>
        <pc:spChg chg="mod">
          <ac:chgData name="Julia Beatriz Ramos da Conceicao" userId="546b567e-2b94-4c57-bb61-1a2a59d23f64" providerId="ADAL" clId="{B5D78A2A-05A7-4094-96E0-E47069D9855A}" dt="2023-10-03T02:44:37.280" v="1034"/>
          <ac:spMkLst>
            <pc:docMk/>
            <pc:sldMk cId="1308768919" sldId="2415"/>
            <ac:spMk id="69" creationId="{D28E5BE9-953E-E9AD-179D-B8E38EE1CCA5}"/>
          </ac:spMkLst>
        </pc:spChg>
        <pc:spChg chg="add del mod">
          <ac:chgData name="Julia Beatriz Ramos da Conceicao" userId="546b567e-2b94-4c57-bb61-1a2a59d23f64" providerId="ADAL" clId="{B5D78A2A-05A7-4094-96E0-E47069D9855A}" dt="2023-10-03T02:44:38.660" v="1035"/>
          <ac:spMkLst>
            <pc:docMk/>
            <pc:sldMk cId="1308768919" sldId="2415"/>
            <ac:spMk id="70" creationId="{F8AC317D-BEA7-D2DF-8838-ED8978F30AEF}"/>
          </ac:spMkLst>
        </pc:spChg>
        <pc:spChg chg="add del mod">
          <ac:chgData name="Julia Beatriz Ramos da Conceicao" userId="546b567e-2b94-4c57-bb61-1a2a59d23f64" providerId="ADAL" clId="{B5D78A2A-05A7-4094-96E0-E47069D9855A}" dt="2023-10-03T02:44:38.660" v="1035"/>
          <ac:spMkLst>
            <pc:docMk/>
            <pc:sldMk cId="1308768919" sldId="2415"/>
            <ac:spMk id="72" creationId="{72662BED-B1A5-6D5B-D739-57DC2EECEDB4}"/>
          </ac:spMkLst>
        </pc:spChg>
        <pc:spChg chg="add del mod">
          <ac:chgData name="Julia Beatriz Ramos da Conceicao" userId="546b567e-2b94-4c57-bb61-1a2a59d23f64" providerId="ADAL" clId="{B5D78A2A-05A7-4094-96E0-E47069D9855A}" dt="2023-10-03T02:44:38.660" v="1035"/>
          <ac:spMkLst>
            <pc:docMk/>
            <pc:sldMk cId="1308768919" sldId="2415"/>
            <ac:spMk id="74" creationId="{55616355-42E5-14F9-A9D6-507F9C044674}"/>
          </ac:spMkLst>
        </pc:spChg>
        <pc:grpChg chg="add mod">
          <ac:chgData name="Julia Beatriz Ramos da Conceicao" userId="546b567e-2b94-4c57-bb61-1a2a59d23f64" providerId="ADAL" clId="{B5D78A2A-05A7-4094-96E0-E47069D9855A}" dt="2023-10-03T02:43:39.444" v="1033" actId="1036"/>
          <ac:grpSpMkLst>
            <pc:docMk/>
            <pc:sldMk cId="1308768919" sldId="2415"/>
            <ac:grpSpMk id="8" creationId="{C6340F94-DC35-4016-4F70-137BFC028C7A}"/>
          </ac:grpSpMkLst>
        </pc:grpChg>
        <pc:grpChg chg="del">
          <ac:chgData name="Julia Beatriz Ramos da Conceicao" userId="546b567e-2b94-4c57-bb61-1a2a59d23f64" providerId="ADAL" clId="{B5D78A2A-05A7-4094-96E0-E47069D9855A}" dt="2023-10-04T02:55:18.849" v="3386" actId="478"/>
          <ac:grpSpMkLst>
            <pc:docMk/>
            <pc:sldMk cId="1308768919" sldId="2415"/>
            <ac:grpSpMk id="10" creationId="{28E1993B-7E86-B0F3-033B-943A58DFB762}"/>
          </ac:grpSpMkLst>
        </pc:grpChg>
        <pc:grpChg chg="add mod">
          <ac:chgData name="Julia Beatriz Ramos da Conceicao" userId="546b567e-2b94-4c57-bb61-1a2a59d23f64" providerId="ADAL" clId="{B5D78A2A-05A7-4094-96E0-E47069D9855A}" dt="2023-10-03T02:43:39.444" v="1033" actId="1036"/>
          <ac:grpSpMkLst>
            <pc:docMk/>
            <pc:sldMk cId="1308768919" sldId="2415"/>
            <ac:grpSpMk id="32" creationId="{0E91457D-4134-2683-CD13-C29FE723F35C}"/>
          </ac:grpSpMkLst>
        </pc:grpChg>
        <pc:grpChg chg="add del mod">
          <ac:chgData name="Julia Beatriz Ramos da Conceicao" userId="546b567e-2b94-4c57-bb61-1a2a59d23f64" providerId="ADAL" clId="{B5D78A2A-05A7-4094-96E0-E47069D9855A}" dt="2023-10-03T02:44:38.660" v="1035"/>
          <ac:grpSpMkLst>
            <pc:docMk/>
            <pc:sldMk cId="1308768919" sldId="2415"/>
            <ac:grpSpMk id="47" creationId="{B581FFD4-FB3F-C5C8-7CFC-A1C64F42A36C}"/>
          </ac:grpSpMkLst>
        </pc:grpChg>
        <pc:grpChg chg="add del mod">
          <ac:chgData name="Julia Beatriz Ramos da Conceicao" userId="546b567e-2b94-4c57-bb61-1a2a59d23f64" providerId="ADAL" clId="{B5D78A2A-05A7-4094-96E0-E47069D9855A}" dt="2023-10-03T02:44:38.660" v="1035"/>
          <ac:grpSpMkLst>
            <pc:docMk/>
            <pc:sldMk cId="1308768919" sldId="2415"/>
            <ac:grpSpMk id="64" creationId="{42046CEB-F489-186A-0FFB-B54DED67D380}"/>
          </ac:grpSpMkLst>
        </pc:grpChg>
        <pc:picChg chg="del">
          <ac:chgData name="Julia Beatriz Ramos da Conceicao" userId="546b567e-2b94-4c57-bb61-1a2a59d23f64" providerId="ADAL" clId="{B5D78A2A-05A7-4094-96E0-E47069D9855A}" dt="2023-10-03T02:43:09.316" v="1023" actId="478"/>
          <ac:picMkLst>
            <pc:docMk/>
            <pc:sldMk cId="1308768919" sldId="2415"/>
            <ac:picMk id="19" creationId="{8A478CC3-B575-54FD-041E-06BAE3B796FE}"/>
          </ac:picMkLst>
        </pc:picChg>
        <pc:picChg chg="add mod">
          <ac:chgData name="Julia Beatriz Ramos da Conceicao" userId="546b567e-2b94-4c57-bb61-1a2a59d23f64" providerId="ADAL" clId="{B5D78A2A-05A7-4094-96E0-E47069D9855A}" dt="2023-10-03T02:43:39.444" v="1033" actId="1036"/>
          <ac:picMkLst>
            <pc:docMk/>
            <pc:sldMk cId="1308768919" sldId="2415"/>
            <ac:picMk id="20" creationId="{227BFA4B-62BD-1701-E9C3-348F1C064CF6}"/>
          </ac:picMkLst>
        </pc:picChg>
        <pc:picChg chg="add mod">
          <ac:chgData name="Julia Beatriz Ramos da Conceicao" userId="546b567e-2b94-4c57-bb61-1a2a59d23f64" providerId="ADAL" clId="{B5D78A2A-05A7-4094-96E0-E47069D9855A}" dt="2023-10-03T02:43:39.444" v="1033" actId="1036"/>
          <ac:picMkLst>
            <pc:docMk/>
            <pc:sldMk cId="1308768919" sldId="2415"/>
            <ac:picMk id="21" creationId="{3A4B9352-E281-A211-A406-15D010E75E1A}"/>
          </ac:picMkLst>
        </pc:picChg>
        <pc:picChg chg="add mod">
          <ac:chgData name="Julia Beatriz Ramos da Conceicao" userId="546b567e-2b94-4c57-bb61-1a2a59d23f64" providerId="ADAL" clId="{B5D78A2A-05A7-4094-96E0-E47069D9855A}" dt="2023-10-03T02:43:39.444" v="1033" actId="1036"/>
          <ac:picMkLst>
            <pc:docMk/>
            <pc:sldMk cId="1308768919" sldId="2415"/>
            <ac:picMk id="22" creationId="{71D173C5-CFA1-7769-9157-E38FDC24BCAD}"/>
          </ac:picMkLst>
        </pc:picChg>
        <pc:picChg chg="del">
          <ac:chgData name="Julia Beatriz Ramos da Conceicao" userId="546b567e-2b94-4c57-bb61-1a2a59d23f64" providerId="ADAL" clId="{B5D78A2A-05A7-4094-96E0-E47069D9855A}" dt="2023-10-03T02:43:06.059" v="1021" actId="478"/>
          <ac:picMkLst>
            <pc:docMk/>
            <pc:sldMk cId="1308768919" sldId="2415"/>
            <ac:picMk id="23" creationId="{8E2A8B12-C7D8-92BA-58B3-012A57A097E0}"/>
          </ac:picMkLst>
        </pc:picChg>
        <pc:picChg chg="add mod">
          <ac:chgData name="Julia Beatriz Ramos da Conceicao" userId="546b567e-2b94-4c57-bb61-1a2a59d23f64" providerId="ADAL" clId="{B5D78A2A-05A7-4094-96E0-E47069D9855A}" dt="2023-10-03T02:43:39.444" v="1033" actId="1036"/>
          <ac:picMkLst>
            <pc:docMk/>
            <pc:sldMk cId="1308768919" sldId="2415"/>
            <ac:picMk id="24" creationId="{F4EA94D9-700B-98A5-4FB5-5D311E760C90}"/>
          </ac:picMkLst>
        </pc:picChg>
        <pc:picChg chg="mod">
          <ac:chgData name="Julia Beatriz Ramos da Conceicao" userId="546b567e-2b94-4c57-bb61-1a2a59d23f64" providerId="ADAL" clId="{B5D78A2A-05A7-4094-96E0-E47069D9855A}" dt="2023-10-03T02:43:39.444" v="1033" actId="1036"/>
          <ac:picMkLst>
            <pc:docMk/>
            <pc:sldMk cId="1308768919" sldId="2415"/>
            <ac:picMk id="35" creationId="{A47AA08B-D9EF-9319-D9C6-8EF9CFF40BF8}"/>
          </ac:picMkLst>
        </pc:picChg>
        <pc:picChg chg="add mod">
          <ac:chgData name="Julia Beatriz Ramos da Conceicao" userId="546b567e-2b94-4c57-bb61-1a2a59d23f64" providerId="ADAL" clId="{B5D78A2A-05A7-4094-96E0-E47069D9855A}" dt="2023-10-03T02:43:39.444" v="1033" actId="1036"/>
          <ac:picMkLst>
            <pc:docMk/>
            <pc:sldMk cId="1308768919" sldId="2415"/>
            <ac:picMk id="39" creationId="{2703FA2F-9460-8B2F-EB0D-EE4CE3678910}"/>
          </ac:picMkLst>
        </pc:picChg>
        <pc:picChg chg="add mod">
          <ac:chgData name="Julia Beatriz Ramos da Conceicao" userId="546b567e-2b94-4c57-bb61-1a2a59d23f64" providerId="ADAL" clId="{B5D78A2A-05A7-4094-96E0-E47069D9855A}" dt="2023-10-03T02:43:39.444" v="1033" actId="1036"/>
          <ac:picMkLst>
            <pc:docMk/>
            <pc:sldMk cId="1308768919" sldId="2415"/>
            <ac:picMk id="41" creationId="{B6A09B9A-F775-D4A7-1A72-643C6F3DDCB9}"/>
          </ac:picMkLst>
        </pc:picChg>
        <pc:picChg chg="add del mod">
          <ac:chgData name="Julia Beatriz Ramos da Conceicao" userId="546b567e-2b94-4c57-bb61-1a2a59d23f64" providerId="ADAL" clId="{B5D78A2A-05A7-4094-96E0-E47069D9855A}" dt="2023-10-03T02:44:38.660" v="1035"/>
          <ac:picMkLst>
            <pc:docMk/>
            <pc:sldMk cId="1308768919" sldId="2415"/>
            <ac:picMk id="53" creationId="{72647801-DF7D-CF14-0F14-89658B882EF0}"/>
          </ac:picMkLst>
        </pc:picChg>
        <pc:picChg chg="add del mod">
          <ac:chgData name="Julia Beatriz Ramos da Conceicao" userId="546b567e-2b94-4c57-bb61-1a2a59d23f64" providerId="ADAL" clId="{B5D78A2A-05A7-4094-96E0-E47069D9855A}" dt="2023-10-03T02:44:38.660" v="1035"/>
          <ac:picMkLst>
            <pc:docMk/>
            <pc:sldMk cId="1308768919" sldId="2415"/>
            <ac:picMk id="54" creationId="{18EB0DE8-3BF3-BEA9-0E8B-EF227B40EFB0}"/>
          </ac:picMkLst>
        </pc:picChg>
        <pc:picChg chg="add del mod">
          <ac:chgData name="Julia Beatriz Ramos da Conceicao" userId="546b567e-2b94-4c57-bb61-1a2a59d23f64" providerId="ADAL" clId="{B5D78A2A-05A7-4094-96E0-E47069D9855A}" dt="2023-10-03T02:44:38.660" v="1035"/>
          <ac:picMkLst>
            <pc:docMk/>
            <pc:sldMk cId="1308768919" sldId="2415"/>
            <ac:picMk id="55" creationId="{692A7E0D-5246-17E2-D61C-F5265C100296}"/>
          </ac:picMkLst>
        </pc:picChg>
        <pc:picChg chg="add del mod">
          <ac:chgData name="Julia Beatriz Ramos da Conceicao" userId="546b567e-2b94-4c57-bb61-1a2a59d23f64" providerId="ADAL" clId="{B5D78A2A-05A7-4094-96E0-E47069D9855A}" dt="2023-10-03T02:44:38.660" v="1035"/>
          <ac:picMkLst>
            <pc:docMk/>
            <pc:sldMk cId="1308768919" sldId="2415"/>
            <ac:picMk id="56" creationId="{8FB05246-8875-87D1-7E6C-2B2361D4D8BA}"/>
          </ac:picMkLst>
        </pc:picChg>
        <pc:picChg chg="mod">
          <ac:chgData name="Julia Beatriz Ramos da Conceicao" userId="546b567e-2b94-4c57-bb61-1a2a59d23f64" providerId="ADAL" clId="{B5D78A2A-05A7-4094-96E0-E47069D9855A}" dt="2023-10-03T02:44:37.280" v="1034"/>
          <ac:picMkLst>
            <pc:docMk/>
            <pc:sldMk cId="1308768919" sldId="2415"/>
            <ac:picMk id="67" creationId="{BAE2D805-309E-1BD4-AB03-EFF24429EE42}"/>
          </ac:picMkLst>
        </pc:picChg>
        <pc:picChg chg="add del mod">
          <ac:chgData name="Julia Beatriz Ramos da Conceicao" userId="546b567e-2b94-4c57-bb61-1a2a59d23f64" providerId="ADAL" clId="{B5D78A2A-05A7-4094-96E0-E47069D9855A}" dt="2023-10-03T02:44:38.660" v="1035"/>
          <ac:picMkLst>
            <pc:docMk/>
            <pc:sldMk cId="1308768919" sldId="2415"/>
            <ac:picMk id="71" creationId="{71F4C899-6C65-08F0-A86B-9EFF7EA976DF}"/>
          </ac:picMkLst>
        </pc:picChg>
        <pc:picChg chg="add del mod">
          <ac:chgData name="Julia Beatriz Ramos da Conceicao" userId="546b567e-2b94-4c57-bb61-1a2a59d23f64" providerId="ADAL" clId="{B5D78A2A-05A7-4094-96E0-E47069D9855A}" dt="2023-10-03T02:44:38.660" v="1035"/>
          <ac:picMkLst>
            <pc:docMk/>
            <pc:sldMk cId="1308768919" sldId="2415"/>
            <ac:picMk id="73" creationId="{721B90D3-4DC0-6874-2C75-F0BF7B9559B3}"/>
          </ac:picMkLst>
        </pc:picChg>
      </pc:sldChg>
      <pc:sldChg chg="addSp delSp modSp add mod modAnim">
        <pc:chgData name="Julia Beatriz Ramos da Conceicao" userId="546b567e-2b94-4c57-bb61-1a2a59d23f64" providerId="ADAL" clId="{B5D78A2A-05A7-4094-96E0-E47069D9855A}" dt="2023-10-03T02:46:09.708" v="1067" actId="1035"/>
        <pc:sldMkLst>
          <pc:docMk/>
          <pc:sldMk cId="317178407" sldId="2416"/>
        </pc:sldMkLst>
        <pc:spChg chg="add mod">
          <ac:chgData name="Julia Beatriz Ramos da Conceicao" userId="546b567e-2b94-4c57-bb61-1a2a59d23f64" providerId="ADAL" clId="{B5D78A2A-05A7-4094-96E0-E47069D9855A}" dt="2023-10-03T02:46:09.708" v="1067" actId="1035"/>
          <ac:spMkLst>
            <pc:docMk/>
            <pc:sldMk cId="317178407" sldId="2416"/>
            <ac:spMk id="2" creationId="{D367480B-53CE-4C9C-C487-C78B8A977922}"/>
          </ac:spMkLst>
        </pc:spChg>
        <pc:spChg chg="mod">
          <ac:chgData name="Julia Beatriz Ramos da Conceicao" userId="546b567e-2b94-4c57-bb61-1a2a59d23f64" providerId="ADAL" clId="{B5D78A2A-05A7-4094-96E0-E47069D9855A}" dt="2023-10-03T02:44:58.902" v="1060" actId="20577"/>
          <ac:spMkLst>
            <pc:docMk/>
            <pc:sldMk cId="317178407" sldId="2416"/>
            <ac:spMk id="3" creationId="{305507F4-E351-B93B-BD52-A2DD35DA6C97}"/>
          </ac:spMkLst>
        </pc:spChg>
        <pc:spChg chg="del">
          <ac:chgData name="Julia Beatriz Ramos da Conceicao" userId="546b567e-2b94-4c57-bb61-1a2a59d23f64" providerId="ADAL" clId="{B5D78A2A-05A7-4094-96E0-E47069D9855A}" dt="2023-10-03T02:45:05.712" v="1061" actId="478"/>
          <ac:spMkLst>
            <pc:docMk/>
            <pc:sldMk cId="317178407" sldId="2416"/>
            <ac:spMk id="4" creationId="{C3C2F5C9-0C7A-E976-4BF1-A5CDA2E852BA}"/>
          </ac:spMkLst>
        </pc:spChg>
        <pc:spChg chg="del">
          <ac:chgData name="Julia Beatriz Ramos da Conceicao" userId="546b567e-2b94-4c57-bb61-1a2a59d23f64" providerId="ADAL" clId="{B5D78A2A-05A7-4094-96E0-E47069D9855A}" dt="2023-10-03T02:45:05.712" v="1061" actId="478"/>
          <ac:spMkLst>
            <pc:docMk/>
            <pc:sldMk cId="317178407" sldId="2416"/>
            <ac:spMk id="5" creationId="{958C479E-BFBD-D907-85B3-17BD185E34CC}"/>
          </ac:spMkLst>
        </pc:spChg>
        <pc:spChg chg="del">
          <ac:chgData name="Julia Beatriz Ramos da Conceicao" userId="546b567e-2b94-4c57-bb61-1a2a59d23f64" providerId="ADAL" clId="{B5D78A2A-05A7-4094-96E0-E47069D9855A}" dt="2023-10-03T02:45:05.712" v="1061" actId="478"/>
          <ac:spMkLst>
            <pc:docMk/>
            <pc:sldMk cId="317178407" sldId="2416"/>
            <ac:spMk id="6" creationId="{3B1C52DF-E11F-5079-42C6-2B4AC916F2E4}"/>
          </ac:spMkLst>
        </pc:spChg>
        <pc:spChg chg="del">
          <ac:chgData name="Julia Beatriz Ramos da Conceicao" userId="546b567e-2b94-4c57-bb61-1a2a59d23f64" providerId="ADAL" clId="{B5D78A2A-05A7-4094-96E0-E47069D9855A}" dt="2023-10-03T02:45:05.712" v="1061" actId="478"/>
          <ac:spMkLst>
            <pc:docMk/>
            <pc:sldMk cId="317178407" sldId="2416"/>
            <ac:spMk id="7" creationId="{F2746BAA-B763-AD6E-930B-2089B90AF9E2}"/>
          </ac:spMkLst>
        </pc:spChg>
        <pc:spChg chg="add mod">
          <ac:chgData name="Julia Beatriz Ramos da Conceicao" userId="546b567e-2b94-4c57-bb61-1a2a59d23f64" providerId="ADAL" clId="{B5D78A2A-05A7-4094-96E0-E47069D9855A}" dt="2023-10-03T02:46:09.708" v="1067" actId="1035"/>
          <ac:spMkLst>
            <pc:docMk/>
            <pc:sldMk cId="317178407" sldId="2416"/>
            <ac:spMk id="15" creationId="{2B3D624D-2A60-DCC0-F355-92F53487AFC9}"/>
          </ac:spMkLst>
        </pc:spChg>
        <pc:spChg chg="del">
          <ac:chgData name="Julia Beatriz Ramos da Conceicao" userId="546b567e-2b94-4c57-bb61-1a2a59d23f64" providerId="ADAL" clId="{B5D78A2A-05A7-4094-96E0-E47069D9855A}" dt="2023-10-03T02:45:05.712" v="1061" actId="478"/>
          <ac:spMkLst>
            <pc:docMk/>
            <pc:sldMk cId="317178407" sldId="2416"/>
            <ac:spMk id="18" creationId="{9DBEC737-A209-0309-6EEB-3B49BBED6975}"/>
          </ac:spMkLst>
        </pc:spChg>
        <pc:spChg chg="add mod">
          <ac:chgData name="Julia Beatriz Ramos da Conceicao" userId="546b567e-2b94-4c57-bb61-1a2a59d23f64" providerId="ADAL" clId="{B5D78A2A-05A7-4094-96E0-E47069D9855A}" dt="2023-10-03T02:46:09.708" v="1067" actId="1035"/>
          <ac:spMkLst>
            <pc:docMk/>
            <pc:sldMk cId="317178407" sldId="2416"/>
            <ac:spMk id="19" creationId="{BC6D4BF6-4C3E-AB7E-6337-C89F5340EC0E}"/>
          </ac:spMkLst>
        </pc:spChg>
        <pc:spChg chg="add mod">
          <ac:chgData name="Julia Beatriz Ramos da Conceicao" userId="546b567e-2b94-4c57-bb61-1a2a59d23f64" providerId="ADAL" clId="{B5D78A2A-05A7-4094-96E0-E47069D9855A}" dt="2023-10-03T02:46:09.708" v="1067" actId="1035"/>
          <ac:spMkLst>
            <pc:docMk/>
            <pc:sldMk cId="317178407" sldId="2416"/>
            <ac:spMk id="23" creationId="{8FB2E9F2-DA9B-C56D-9870-C5130B363767}"/>
          </ac:spMkLst>
        </pc:spChg>
        <pc:spChg chg="del">
          <ac:chgData name="Julia Beatriz Ramos da Conceicao" userId="546b567e-2b94-4c57-bb61-1a2a59d23f64" providerId="ADAL" clId="{B5D78A2A-05A7-4094-96E0-E47069D9855A}" dt="2023-10-03T02:45:05.712" v="1061" actId="478"/>
          <ac:spMkLst>
            <pc:docMk/>
            <pc:sldMk cId="317178407" sldId="2416"/>
            <ac:spMk id="25" creationId="{0315BAFE-E0B9-1358-ADF2-C5C20C0DAAAC}"/>
          </ac:spMkLst>
        </pc:spChg>
        <pc:spChg chg="del">
          <ac:chgData name="Julia Beatriz Ramos da Conceicao" userId="546b567e-2b94-4c57-bb61-1a2a59d23f64" providerId="ADAL" clId="{B5D78A2A-05A7-4094-96E0-E47069D9855A}" dt="2023-10-03T02:45:05.712" v="1061" actId="478"/>
          <ac:spMkLst>
            <pc:docMk/>
            <pc:sldMk cId="317178407" sldId="2416"/>
            <ac:spMk id="26" creationId="{914A7A56-BCB4-5429-61BC-CE2EF9772B83}"/>
          </ac:spMkLst>
        </pc:spChg>
        <pc:spChg chg="del">
          <ac:chgData name="Julia Beatriz Ramos da Conceicao" userId="546b567e-2b94-4c57-bb61-1a2a59d23f64" providerId="ADAL" clId="{B5D78A2A-05A7-4094-96E0-E47069D9855A}" dt="2023-10-03T02:45:05.712" v="1061" actId="478"/>
          <ac:spMkLst>
            <pc:docMk/>
            <pc:sldMk cId="317178407" sldId="2416"/>
            <ac:spMk id="27" creationId="{B4C750BD-7621-B811-847C-0BFCE03C8BF2}"/>
          </ac:spMkLst>
        </pc:spChg>
        <pc:spChg chg="del">
          <ac:chgData name="Julia Beatriz Ramos da Conceicao" userId="546b567e-2b94-4c57-bb61-1a2a59d23f64" providerId="ADAL" clId="{B5D78A2A-05A7-4094-96E0-E47069D9855A}" dt="2023-10-03T02:45:05.712" v="1061" actId="478"/>
          <ac:spMkLst>
            <pc:docMk/>
            <pc:sldMk cId="317178407" sldId="2416"/>
            <ac:spMk id="28" creationId="{166DF493-8121-2490-30BE-EA3206931E3D}"/>
          </ac:spMkLst>
        </pc:spChg>
        <pc:spChg chg="del">
          <ac:chgData name="Julia Beatriz Ramos da Conceicao" userId="546b567e-2b94-4c57-bb61-1a2a59d23f64" providerId="ADAL" clId="{B5D78A2A-05A7-4094-96E0-E47069D9855A}" dt="2023-10-03T02:45:05.712" v="1061" actId="478"/>
          <ac:spMkLst>
            <pc:docMk/>
            <pc:sldMk cId="317178407" sldId="2416"/>
            <ac:spMk id="29" creationId="{BE86492B-E4AF-9BF3-FDAB-87A49309217F}"/>
          </ac:spMkLst>
        </pc:spChg>
        <pc:spChg chg="del">
          <ac:chgData name="Julia Beatriz Ramos da Conceicao" userId="546b567e-2b94-4c57-bb61-1a2a59d23f64" providerId="ADAL" clId="{B5D78A2A-05A7-4094-96E0-E47069D9855A}" dt="2023-10-03T02:45:05.712" v="1061" actId="478"/>
          <ac:spMkLst>
            <pc:docMk/>
            <pc:sldMk cId="317178407" sldId="2416"/>
            <ac:spMk id="30" creationId="{573D5767-76D3-F018-976E-40C415B2AD82}"/>
          </ac:spMkLst>
        </pc:spChg>
        <pc:spChg chg="del">
          <ac:chgData name="Julia Beatriz Ramos da Conceicao" userId="546b567e-2b94-4c57-bb61-1a2a59d23f64" providerId="ADAL" clId="{B5D78A2A-05A7-4094-96E0-E47069D9855A}" dt="2023-10-03T02:45:05.712" v="1061" actId="478"/>
          <ac:spMkLst>
            <pc:docMk/>
            <pc:sldMk cId="317178407" sldId="2416"/>
            <ac:spMk id="31" creationId="{98E96CE1-0D50-484A-23A8-D2134699A780}"/>
          </ac:spMkLst>
        </pc:spChg>
        <pc:spChg chg="del">
          <ac:chgData name="Julia Beatriz Ramos da Conceicao" userId="546b567e-2b94-4c57-bb61-1a2a59d23f64" providerId="ADAL" clId="{B5D78A2A-05A7-4094-96E0-E47069D9855A}" dt="2023-10-03T02:45:05.712" v="1061" actId="478"/>
          <ac:spMkLst>
            <pc:docMk/>
            <pc:sldMk cId="317178407" sldId="2416"/>
            <ac:spMk id="38" creationId="{AF9D27F3-E666-FFE8-1518-769CB515B461}"/>
          </ac:spMkLst>
        </pc:spChg>
        <pc:spChg chg="del">
          <ac:chgData name="Julia Beatriz Ramos da Conceicao" userId="546b567e-2b94-4c57-bb61-1a2a59d23f64" providerId="ADAL" clId="{B5D78A2A-05A7-4094-96E0-E47069D9855A}" dt="2023-10-03T02:45:05.712" v="1061" actId="478"/>
          <ac:spMkLst>
            <pc:docMk/>
            <pc:sldMk cId="317178407" sldId="2416"/>
            <ac:spMk id="40" creationId="{68875044-D214-B2AF-6745-BE5ADE8BF13B}"/>
          </ac:spMkLst>
        </pc:spChg>
        <pc:spChg chg="del">
          <ac:chgData name="Julia Beatriz Ramos da Conceicao" userId="546b567e-2b94-4c57-bb61-1a2a59d23f64" providerId="ADAL" clId="{B5D78A2A-05A7-4094-96E0-E47069D9855A}" dt="2023-10-03T02:45:05.712" v="1061" actId="478"/>
          <ac:spMkLst>
            <pc:docMk/>
            <pc:sldMk cId="317178407" sldId="2416"/>
            <ac:spMk id="42" creationId="{695EE998-0B2C-2CE3-5A15-00F436D5BD8E}"/>
          </ac:spMkLst>
        </pc:spChg>
        <pc:spChg chg="add mod">
          <ac:chgData name="Julia Beatriz Ramos da Conceicao" userId="546b567e-2b94-4c57-bb61-1a2a59d23f64" providerId="ADAL" clId="{B5D78A2A-05A7-4094-96E0-E47069D9855A}" dt="2023-10-03T02:46:09.708" v="1067" actId="1035"/>
          <ac:spMkLst>
            <pc:docMk/>
            <pc:sldMk cId="317178407" sldId="2416"/>
            <ac:spMk id="43" creationId="{95950952-F9CD-622E-4E54-1BC2D452751C}"/>
          </ac:spMkLst>
        </pc:spChg>
        <pc:spChg chg="add mod">
          <ac:chgData name="Julia Beatriz Ramos da Conceicao" userId="546b567e-2b94-4c57-bb61-1a2a59d23f64" providerId="ADAL" clId="{B5D78A2A-05A7-4094-96E0-E47069D9855A}" dt="2023-10-03T02:46:09.708" v="1067" actId="1035"/>
          <ac:spMkLst>
            <pc:docMk/>
            <pc:sldMk cId="317178407" sldId="2416"/>
            <ac:spMk id="44" creationId="{821F876D-D0F0-CC7B-1D1E-619E96BC23DF}"/>
          </ac:spMkLst>
        </pc:spChg>
        <pc:grpChg chg="del">
          <ac:chgData name="Julia Beatriz Ramos da Conceicao" userId="546b567e-2b94-4c57-bb61-1a2a59d23f64" providerId="ADAL" clId="{B5D78A2A-05A7-4094-96E0-E47069D9855A}" dt="2023-10-03T02:45:05.712" v="1061" actId="478"/>
          <ac:grpSpMkLst>
            <pc:docMk/>
            <pc:sldMk cId="317178407" sldId="2416"/>
            <ac:grpSpMk id="8" creationId="{C6340F94-DC35-4016-4F70-137BFC028C7A}"/>
          </ac:grpSpMkLst>
        </pc:grpChg>
        <pc:grpChg chg="del">
          <ac:chgData name="Julia Beatriz Ramos da Conceicao" userId="546b567e-2b94-4c57-bb61-1a2a59d23f64" providerId="ADAL" clId="{B5D78A2A-05A7-4094-96E0-E47069D9855A}" dt="2023-10-03T02:45:05.712" v="1061" actId="478"/>
          <ac:grpSpMkLst>
            <pc:docMk/>
            <pc:sldMk cId="317178407" sldId="2416"/>
            <ac:grpSpMk id="32" creationId="{0E91457D-4134-2683-CD13-C29FE723F35C}"/>
          </ac:grpSpMkLst>
        </pc:grpChg>
        <pc:picChg chg="del">
          <ac:chgData name="Julia Beatriz Ramos da Conceicao" userId="546b567e-2b94-4c57-bb61-1a2a59d23f64" providerId="ADAL" clId="{B5D78A2A-05A7-4094-96E0-E47069D9855A}" dt="2023-10-03T02:45:05.712" v="1061" actId="478"/>
          <ac:picMkLst>
            <pc:docMk/>
            <pc:sldMk cId="317178407" sldId="2416"/>
            <ac:picMk id="20" creationId="{227BFA4B-62BD-1701-E9C3-348F1C064CF6}"/>
          </ac:picMkLst>
        </pc:picChg>
        <pc:picChg chg="del">
          <ac:chgData name="Julia Beatriz Ramos da Conceicao" userId="546b567e-2b94-4c57-bb61-1a2a59d23f64" providerId="ADAL" clId="{B5D78A2A-05A7-4094-96E0-E47069D9855A}" dt="2023-10-03T02:45:05.712" v="1061" actId="478"/>
          <ac:picMkLst>
            <pc:docMk/>
            <pc:sldMk cId="317178407" sldId="2416"/>
            <ac:picMk id="21" creationId="{3A4B9352-E281-A211-A406-15D010E75E1A}"/>
          </ac:picMkLst>
        </pc:picChg>
        <pc:picChg chg="del">
          <ac:chgData name="Julia Beatriz Ramos da Conceicao" userId="546b567e-2b94-4c57-bb61-1a2a59d23f64" providerId="ADAL" clId="{B5D78A2A-05A7-4094-96E0-E47069D9855A}" dt="2023-10-03T02:45:05.712" v="1061" actId="478"/>
          <ac:picMkLst>
            <pc:docMk/>
            <pc:sldMk cId="317178407" sldId="2416"/>
            <ac:picMk id="22" creationId="{71D173C5-CFA1-7769-9157-E38FDC24BCAD}"/>
          </ac:picMkLst>
        </pc:picChg>
        <pc:picChg chg="del">
          <ac:chgData name="Julia Beatriz Ramos da Conceicao" userId="546b567e-2b94-4c57-bb61-1a2a59d23f64" providerId="ADAL" clId="{B5D78A2A-05A7-4094-96E0-E47069D9855A}" dt="2023-10-03T02:45:05.712" v="1061" actId="478"/>
          <ac:picMkLst>
            <pc:docMk/>
            <pc:sldMk cId="317178407" sldId="2416"/>
            <ac:picMk id="24" creationId="{F4EA94D9-700B-98A5-4FB5-5D311E760C90}"/>
          </ac:picMkLst>
        </pc:picChg>
        <pc:picChg chg="del">
          <ac:chgData name="Julia Beatriz Ramos da Conceicao" userId="546b567e-2b94-4c57-bb61-1a2a59d23f64" providerId="ADAL" clId="{B5D78A2A-05A7-4094-96E0-E47069D9855A}" dt="2023-10-03T02:45:05.712" v="1061" actId="478"/>
          <ac:picMkLst>
            <pc:docMk/>
            <pc:sldMk cId="317178407" sldId="2416"/>
            <ac:picMk id="39" creationId="{2703FA2F-9460-8B2F-EB0D-EE4CE3678910}"/>
          </ac:picMkLst>
        </pc:picChg>
        <pc:picChg chg="del">
          <ac:chgData name="Julia Beatriz Ramos da Conceicao" userId="546b567e-2b94-4c57-bb61-1a2a59d23f64" providerId="ADAL" clId="{B5D78A2A-05A7-4094-96E0-E47069D9855A}" dt="2023-10-03T02:45:05.712" v="1061" actId="478"/>
          <ac:picMkLst>
            <pc:docMk/>
            <pc:sldMk cId="317178407" sldId="2416"/>
            <ac:picMk id="41" creationId="{B6A09B9A-F775-D4A7-1A72-643C6F3DDCB9}"/>
          </ac:picMkLst>
        </pc:picChg>
      </pc:sldChg>
      <pc:sldChg chg="modSp add mod">
        <pc:chgData name="Julia Beatriz Ramos da Conceicao" userId="546b567e-2b94-4c57-bb61-1a2a59d23f64" providerId="ADAL" clId="{B5D78A2A-05A7-4094-96E0-E47069D9855A}" dt="2023-10-03T02:49:14.545" v="1193" actId="20577"/>
        <pc:sldMkLst>
          <pc:docMk/>
          <pc:sldMk cId="632656175" sldId="2417"/>
        </pc:sldMkLst>
        <pc:spChg chg="mod">
          <ac:chgData name="Julia Beatriz Ramos da Conceicao" userId="546b567e-2b94-4c57-bb61-1a2a59d23f64" providerId="ADAL" clId="{B5D78A2A-05A7-4094-96E0-E47069D9855A}" dt="2023-10-03T02:48:09.753" v="1093" actId="20577"/>
          <ac:spMkLst>
            <pc:docMk/>
            <pc:sldMk cId="632656175" sldId="2417"/>
            <ac:spMk id="3" creationId="{305507F4-E351-B93B-BD52-A2DD35DA6C97}"/>
          </ac:spMkLst>
        </pc:spChg>
        <pc:spChg chg="mod">
          <ac:chgData name="Julia Beatriz Ramos da Conceicao" userId="546b567e-2b94-4c57-bb61-1a2a59d23f64" providerId="ADAL" clId="{B5D78A2A-05A7-4094-96E0-E47069D9855A}" dt="2023-10-03T02:49:14.545" v="1193" actId="20577"/>
          <ac:spMkLst>
            <pc:docMk/>
            <pc:sldMk cId="632656175" sldId="2417"/>
            <ac:spMk id="6" creationId="{BAFE5D47-189A-675D-2A18-695720558139}"/>
          </ac:spMkLst>
        </pc:spChg>
      </pc:sldChg>
      <pc:sldChg chg="delSp modSp mod">
        <pc:chgData name="Julia Beatriz Ramos da Conceicao" userId="546b567e-2b94-4c57-bb61-1a2a59d23f64" providerId="ADAL" clId="{B5D78A2A-05A7-4094-96E0-E47069D9855A}" dt="2023-10-04T02:55:16.314" v="3385" actId="478"/>
        <pc:sldMkLst>
          <pc:docMk/>
          <pc:sldMk cId="1234870101" sldId="2146850137"/>
        </pc:sldMkLst>
        <pc:spChg chg="mod">
          <ac:chgData name="Julia Beatriz Ramos da Conceicao" userId="546b567e-2b94-4c57-bb61-1a2a59d23f64" providerId="ADAL" clId="{B5D78A2A-05A7-4094-96E0-E47069D9855A}" dt="2023-10-03T21:08:29.128" v="1199"/>
          <ac:spMkLst>
            <pc:docMk/>
            <pc:sldMk cId="1234870101" sldId="2146850137"/>
            <ac:spMk id="3" creationId="{305507F4-E351-B93B-BD52-A2DD35DA6C97}"/>
          </ac:spMkLst>
        </pc:spChg>
        <pc:grpChg chg="del">
          <ac:chgData name="Julia Beatriz Ramos da Conceicao" userId="546b567e-2b94-4c57-bb61-1a2a59d23f64" providerId="ADAL" clId="{B5D78A2A-05A7-4094-96E0-E47069D9855A}" dt="2023-10-04T02:55:16.314" v="3385" actId="478"/>
          <ac:grpSpMkLst>
            <pc:docMk/>
            <pc:sldMk cId="1234870101" sldId="2146850137"/>
            <ac:grpSpMk id="10" creationId="{28E1993B-7E86-B0F3-033B-943A58DFB762}"/>
          </ac:grpSpMkLst>
        </pc:grpChg>
      </pc:sldChg>
      <pc:sldChg chg="addSp delSp modSp mod">
        <pc:chgData name="Julia Beatriz Ramos da Conceicao" userId="546b567e-2b94-4c57-bb61-1a2a59d23f64" providerId="ADAL" clId="{B5D78A2A-05A7-4094-96E0-E47069D9855A}" dt="2023-10-04T01:24:49.881" v="1933" actId="12788"/>
        <pc:sldMkLst>
          <pc:docMk/>
          <pc:sldMk cId="2008892223" sldId="2146850138"/>
        </pc:sldMkLst>
        <pc:spChg chg="mod">
          <ac:chgData name="Julia Beatriz Ramos da Conceicao" userId="546b567e-2b94-4c57-bb61-1a2a59d23f64" providerId="ADAL" clId="{B5D78A2A-05A7-4094-96E0-E47069D9855A}" dt="2023-10-04T01:24:04.073" v="1737" actId="20577"/>
          <ac:spMkLst>
            <pc:docMk/>
            <pc:sldMk cId="2008892223" sldId="2146850138"/>
            <ac:spMk id="2" creationId="{6B66F335-8E69-C31F-24CA-A21A4D57FEEA}"/>
          </ac:spMkLst>
        </pc:spChg>
        <pc:spChg chg="mod ord">
          <ac:chgData name="Julia Beatriz Ramos da Conceicao" userId="546b567e-2b94-4c57-bb61-1a2a59d23f64" providerId="ADAL" clId="{B5D78A2A-05A7-4094-96E0-E47069D9855A}" dt="2023-10-04T01:23:25.836" v="1712" actId="14100"/>
          <ac:spMkLst>
            <pc:docMk/>
            <pc:sldMk cId="2008892223" sldId="2146850138"/>
            <ac:spMk id="3" creationId="{305507F4-E351-B93B-BD52-A2DD35DA6C97}"/>
          </ac:spMkLst>
        </pc:spChg>
        <pc:spChg chg="mod topLvl">
          <ac:chgData name="Julia Beatriz Ramos da Conceicao" userId="546b567e-2b94-4c57-bb61-1a2a59d23f64" providerId="ADAL" clId="{B5D78A2A-05A7-4094-96E0-E47069D9855A}" dt="2023-10-04T01:18:55.706" v="1668" actId="1038"/>
          <ac:spMkLst>
            <pc:docMk/>
            <pc:sldMk cId="2008892223" sldId="2146850138"/>
            <ac:spMk id="6" creationId="{96F6DDEE-A7FC-C898-1829-9FB6E3A54B56}"/>
          </ac:spMkLst>
        </pc:spChg>
        <pc:spChg chg="mod topLvl">
          <ac:chgData name="Julia Beatriz Ramos da Conceicao" userId="546b567e-2b94-4c57-bb61-1a2a59d23f64" providerId="ADAL" clId="{B5D78A2A-05A7-4094-96E0-E47069D9855A}" dt="2023-10-04T01:19:55.803" v="1704" actId="1035"/>
          <ac:spMkLst>
            <pc:docMk/>
            <pc:sldMk cId="2008892223" sldId="2146850138"/>
            <ac:spMk id="8" creationId="{FD6D873A-AFE8-D8C4-9D46-12953B24CB33}"/>
          </ac:spMkLst>
        </pc:spChg>
        <pc:spChg chg="add mod">
          <ac:chgData name="Julia Beatriz Ramos da Conceicao" userId="546b567e-2b94-4c57-bb61-1a2a59d23f64" providerId="ADAL" clId="{B5D78A2A-05A7-4094-96E0-E47069D9855A}" dt="2023-10-04T01:24:49.881" v="1933" actId="12788"/>
          <ac:spMkLst>
            <pc:docMk/>
            <pc:sldMk cId="2008892223" sldId="2146850138"/>
            <ac:spMk id="11" creationId="{410EEE0D-72BB-228B-08F8-C5BEE30E9AAC}"/>
          </ac:spMkLst>
        </pc:spChg>
        <pc:spChg chg="add mod">
          <ac:chgData name="Julia Beatriz Ramos da Conceicao" userId="546b567e-2b94-4c57-bb61-1a2a59d23f64" providerId="ADAL" clId="{B5D78A2A-05A7-4094-96E0-E47069D9855A}" dt="2023-10-04T01:24:49.881" v="1933" actId="12788"/>
          <ac:spMkLst>
            <pc:docMk/>
            <pc:sldMk cId="2008892223" sldId="2146850138"/>
            <ac:spMk id="12" creationId="{BDF677BE-C953-4401-6FCD-DD6D021F61FC}"/>
          </ac:spMkLst>
        </pc:spChg>
        <pc:spChg chg="add mod">
          <ac:chgData name="Julia Beatriz Ramos da Conceicao" userId="546b567e-2b94-4c57-bb61-1a2a59d23f64" providerId="ADAL" clId="{B5D78A2A-05A7-4094-96E0-E47069D9855A}" dt="2023-10-04T01:24:49.881" v="1933" actId="12788"/>
          <ac:spMkLst>
            <pc:docMk/>
            <pc:sldMk cId="2008892223" sldId="2146850138"/>
            <ac:spMk id="13" creationId="{B862BAE9-21AB-5BA9-FBCD-66883072AF48}"/>
          </ac:spMkLst>
        </pc:spChg>
        <pc:spChg chg="add mod">
          <ac:chgData name="Julia Beatriz Ramos da Conceicao" userId="546b567e-2b94-4c57-bb61-1a2a59d23f64" providerId="ADAL" clId="{B5D78A2A-05A7-4094-96E0-E47069D9855A}" dt="2023-10-04T01:24:49.881" v="1933" actId="12788"/>
          <ac:spMkLst>
            <pc:docMk/>
            <pc:sldMk cId="2008892223" sldId="2146850138"/>
            <ac:spMk id="15" creationId="{FFB41909-806D-BE1C-F8B8-3D38B685F43C}"/>
          </ac:spMkLst>
        </pc:spChg>
        <pc:spChg chg="add mod">
          <ac:chgData name="Julia Beatriz Ramos da Conceicao" userId="546b567e-2b94-4c57-bb61-1a2a59d23f64" providerId="ADAL" clId="{B5D78A2A-05A7-4094-96E0-E47069D9855A}" dt="2023-10-04T01:24:49.881" v="1933" actId="12788"/>
          <ac:spMkLst>
            <pc:docMk/>
            <pc:sldMk cId="2008892223" sldId="2146850138"/>
            <ac:spMk id="16" creationId="{466D1210-2F24-C7C8-E590-68CDF240F876}"/>
          </ac:spMkLst>
        </pc:spChg>
        <pc:grpChg chg="add del mod">
          <ac:chgData name="Julia Beatriz Ramos da Conceicao" userId="546b567e-2b94-4c57-bb61-1a2a59d23f64" providerId="ADAL" clId="{B5D78A2A-05A7-4094-96E0-E47069D9855A}" dt="2023-10-04T01:18:37.480" v="1661" actId="165"/>
          <ac:grpSpMkLst>
            <pc:docMk/>
            <pc:sldMk cId="2008892223" sldId="2146850138"/>
            <ac:grpSpMk id="4" creationId="{F472D873-E336-D9DA-E829-1A3368F882B4}"/>
          </ac:grpSpMkLst>
        </pc:grpChg>
        <pc:cxnChg chg="mod topLvl">
          <ac:chgData name="Julia Beatriz Ramos da Conceicao" userId="546b567e-2b94-4c57-bb61-1a2a59d23f64" providerId="ADAL" clId="{B5D78A2A-05A7-4094-96E0-E47069D9855A}" dt="2023-10-04T01:20:05.964" v="1705" actId="14100"/>
          <ac:cxnSpMkLst>
            <pc:docMk/>
            <pc:sldMk cId="2008892223" sldId="2146850138"/>
            <ac:cxnSpMk id="5" creationId="{DF49C8D3-B917-4BE4-FA4A-937D45F263CA}"/>
          </ac:cxnSpMkLst>
        </pc:cxnChg>
        <pc:cxnChg chg="mod topLvl">
          <ac:chgData name="Julia Beatriz Ramos da Conceicao" userId="546b567e-2b94-4c57-bb61-1a2a59d23f64" providerId="ADAL" clId="{B5D78A2A-05A7-4094-96E0-E47069D9855A}" dt="2023-10-04T01:18:37.480" v="1661" actId="165"/>
          <ac:cxnSpMkLst>
            <pc:docMk/>
            <pc:sldMk cId="2008892223" sldId="2146850138"/>
            <ac:cxnSpMk id="7" creationId="{D2640B7C-50CD-CABA-7369-AA15960A7855}"/>
          </ac:cxnSpMkLst>
        </pc:cxnChg>
        <pc:cxnChg chg="mod topLvl">
          <ac:chgData name="Julia Beatriz Ramos da Conceicao" userId="546b567e-2b94-4c57-bb61-1a2a59d23f64" providerId="ADAL" clId="{B5D78A2A-05A7-4094-96E0-E47069D9855A}" dt="2023-10-04T01:19:55.803" v="1704" actId="1035"/>
          <ac:cxnSpMkLst>
            <pc:docMk/>
            <pc:sldMk cId="2008892223" sldId="2146850138"/>
            <ac:cxnSpMk id="9" creationId="{B6A9EE04-9525-AF46-FDED-A40F402B995B}"/>
          </ac:cxnSpMkLst>
        </pc:cxnChg>
      </pc:sldChg>
      <pc:sldChg chg="addSp delSp modSp mod">
        <pc:chgData name="Julia Beatriz Ramos da Conceicao" userId="546b567e-2b94-4c57-bb61-1a2a59d23f64" providerId="ADAL" clId="{B5D78A2A-05A7-4094-96E0-E47069D9855A}" dt="2023-10-04T02:43:29.586" v="2987" actId="478"/>
        <pc:sldMkLst>
          <pc:docMk/>
          <pc:sldMk cId="866997976" sldId="2146850139"/>
        </pc:sldMkLst>
        <pc:spChg chg="mod">
          <ac:chgData name="Julia Beatriz Ramos da Conceicao" userId="546b567e-2b94-4c57-bb61-1a2a59d23f64" providerId="ADAL" clId="{B5D78A2A-05A7-4094-96E0-E47069D9855A}" dt="2023-10-04T02:43:09.529" v="2948" actId="1035"/>
          <ac:spMkLst>
            <pc:docMk/>
            <pc:sldMk cId="866997976" sldId="2146850139"/>
            <ac:spMk id="2" creationId="{6B66F335-8E69-C31F-24CA-A21A4D57FEEA}"/>
          </ac:spMkLst>
        </pc:spChg>
        <pc:spChg chg="add mod">
          <ac:chgData name="Julia Beatriz Ramos da Conceicao" userId="546b567e-2b94-4c57-bb61-1a2a59d23f64" providerId="ADAL" clId="{B5D78A2A-05A7-4094-96E0-E47069D9855A}" dt="2023-10-04T02:42:04.100" v="2888" actId="1076"/>
          <ac:spMkLst>
            <pc:docMk/>
            <pc:sldMk cId="866997976" sldId="2146850139"/>
            <ac:spMk id="4" creationId="{2B174AD6-789C-64FB-7D83-4515008344A5}"/>
          </ac:spMkLst>
        </pc:spChg>
        <pc:spChg chg="add del mod">
          <ac:chgData name="Julia Beatriz Ramos da Conceicao" userId="546b567e-2b94-4c57-bb61-1a2a59d23f64" providerId="ADAL" clId="{B5D78A2A-05A7-4094-96E0-E47069D9855A}" dt="2023-10-04T02:42:39.820" v="2897"/>
          <ac:spMkLst>
            <pc:docMk/>
            <pc:sldMk cId="866997976" sldId="2146850139"/>
            <ac:spMk id="5" creationId="{8B53085F-B88B-A8AB-2B18-8E58B57A9C9B}"/>
          </ac:spMkLst>
        </pc:spChg>
        <pc:spChg chg="mod">
          <ac:chgData name="Julia Beatriz Ramos da Conceicao" userId="546b567e-2b94-4c57-bb61-1a2a59d23f64" providerId="ADAL" clId="{B5D78A2A-05A7-4094-96E0-E47069D9855A}" dt="2023-10-04T02:42:18.303" v="2890"/>
          <ac:spMkLst>
            <pc:docMk/>
            <pc:sldMk cId="866997976" sldId="2146850139"/>
            <ac:spMk id="9" creationId="{7DCF42D4-F3A1-8EC7-9E57-000A46B730E1}"/>
          </ac:spMkLst>
        </pc:spChg>
        <pc:spChg chg="mod">
          <ac:chgData name="Julia Beatriz Ramos da Conceicao" userId="546b567e-2b94-4c57-bb61-1a2a59d23f64" providerId="ADAL" clId="{B5D78A2A-05A7-4094-96E0-E47069D9855A}" dt="2023-10-04T02:42:18.303" v="2890"/>
          <ac:spMkLst>
            <pc:docMk/>
            <pc:sldMk cId="866997976" sldId="2146850139"/>
            <ac:spMk id="10" creationId="{5DDA44A4-C343-42D4-2E4A-22C11DE1DF91}"/>
          </ac:spMkLst>
        </pc:spChg>
        <pc:spChg chg="mod">
          <ac:chgData name="Julia Beatriz Ramos da Conceicao" userId="546b567e-2b94-4c57-bb61-1a2a59d23f64" providerId="ADAL" clId="{B5D78A2A-05A7-4094-96E0-E47069D9855A}" dt="2023-10-04T02:42:18.303" v="2890"/>
          <ac:spMkLst>
            <pc:docMk/>
            <pc:sldMk cId="866997976" sldId="2146850139"/>
            <ac:spMk id="11" creationId="{68750AB1-0CA1-C5B3-E2B3-3D36FF8CCB55}"/>
          </ac:spMkLst>
        </pc:spChg>
        <pc:spChg chg="mod">
          <ac:chgData name="Julia Beatriz Ramos da Conceicao" userId="546b567e-2b94-4c57-bb61-1a2a59d23f64" providerId="ADAL" clId="{B5D78A2A-05A7-4094-96E0-E47069D9855A}" dt="2023-10-04T02:42:18.303" v="2890"/>
          <ac:spMkLst>
            <pc:docMk/>
            <pc:sldMk cId="866997976" sldId="2146850139"/>
            <ac:spMk id="12" creationId="{D3C0C406-FFB9-9BBA-3372-3433173B3287}"/>
          </ac:spMkLst>
        </pc:spChg>
        <pc:spChg chg="mod">
          <ac:chgData name="Julia Beatriz Ramos da Conceicao" userId="546b567e-2b94-4c57-bb61-1a2a59d23f64" providerId="ADAL" clId="{B5D78A2A-05A7-4094-96E0-E47069D9855A}" dt="2023-10-04T02:42:18.303" v="2890"/>
          <ac:spMkLst>
            <pc:docMk/>
            <pc:sldMk cId="866997976" sldId="2146850139"/>
            <ac:spMk id="13" creationId="{087A41D2-05E9-02F5-2122-E4D4276D0A84}"/>
          </ac:spMkLst>
        </pc:spChg>
        <pc:spChg chg="mod">
          <ac:chgData name="Julia Beatriz Ramos da Conceicao" userId="546b567e-2b94-4c57-bb61-1a2a59d23f64" providerId="ADAL" clId="{B5D78A2A-05A7-4094-96E0-E47069D9855A}" dt="2023-10-04T02:42:18.303" v="2890"/>
          <ac:spMkLst>
            <pc:docMk/>
            <pc:sldMk cId="866997976" sldId="2146850139"/>
            <ac:spMk id="15" creationId="{5F776770-E2D3-E033-848D-8699EE423D0F}"/>
          </ac:spMkLst>
        </pc:spChg>
        <pc:spChg chg="mod">
          <ac:chgData name="Julia Beatriz Ramos da Conceicao" userId="546b567e-2b94-4c57-bb61-1a2a59d23f64" providerId="ADAL" clId="{B5D78A2A-05A7-4094-96E0-E47069D9855A}" dt="2023-10-04T02:42:18.303" v="2890"/>
          <ac:spMkLst>
            <pc:docMk/>
            <pc:sldMk cId="866997976" sldId="2146850139"/>
            <ac:spMk id="16" creationId="{9AF7955A-0F00-0D10-4D0A-4DAE615C40B4}"/>
          </ac:spMkLst>
        </pc:spChg>
        <pc:spChg chg="mod">
          <ac:chgData name="Julia Beatriz Ramos da Conceicao" userId="546b567e-2b94-4c57-bb61-1a2a59d23f64" providerId="ADAL" clId="{B5D78A2A-05A7-4094-96E0-E47069D9855A}" dt="2023-10-04T02:42:18.303" v="2890"/>
          <ac:spMkLst>
            <pc:docMk/>
            <pc:sldMk cId="866997976" sldId="2146850139"/>
            <ac:spMk id="17" creationId="{BB457688-72D5-DBBC-878D-3AEF79FD99C7}"/>
          </ac:spMkLst>
        </pc:spChg>
        <pc:spChg chg="mod">
          <ac:chgData name="Julia Beatriz Ramos da Conceicao" userId="546b567e-2b94-4c57-bb61-1a2a59d23f64" providerId="ADAL" clId="{B5D78A2A-05A7-4094-96E0-E47069D9855A}" dt="2023-10-04T02:42:50.721" v="2899"/>
          <ac:spMkLst>
            <pc:docMk/>
            <pc:sldMk cId="866997976" sldId="2146850139"/>
            <ac:spMk id="29" creationId="{5A138D96-449B-2B3C-8233-B0DB9D6C2CB8}"/>
          </ac:spMkLst>
        </pc:spChg>
        <pc:spChg chg="mod">
          <ac:chgData name="Julia Beatriz Ramos da Conceicao" userId="546b567e-2b94-4c57-bb61-1a2a59d23f64" providerId="ADAL" clId="{B5D78A2A-05A7-4094-96E0-E47069D9855A}" dt="2023-10-04T02:42:50.721" v="2899"/>
          <ac:spMkLst>
            <pc:docMk/>
            <pc:sldMk cId="866997976" sldId="2146850139"/>
            <ac:spMk id="30" creationId="{49EA50CA-7A5D-10BD-B48C-3D226C97298C}"/>
          </ac:spMkLst>
        </pc:spChg>
        <pc:spChg chg="mod">
          <ac:chgData name="Julia Beatriz Ramos da Conceicao" userId="546b567e-2b94-4c57-bb61-1a2a59d23f64" providerId="ADAL" clId="{B5D78A2A-05A7-4094-96E0-E47069D9855A}" dt="2023-10-04T02:42:50.721" v="2899"/>
          <ac:spMkLst>
            <pc:docMk/>
            <pc:sldMk cId="866997976" sldId="2146850139"/>
            <ac:spMk id="31" creationId="{1C1CC42D-00AF-7F97-CBC5-B50C40E94796}"/>
          </ac:spMkLst>
        </pc:spChg>
        <pc:spChg chg="mod">
          <ac:chgData name="Julia Beatriz Ramos da Conceicao" userId="546b567e-2b94-4c57-bb61-1a2a59d23f64" providerId="ADAL" clId="{B5D78A2A-05A7-4094-96E0-E47069D9855A}" dt="2023-10-04T02:42:50.721" v="2899"/>
          <ac:spMkLst>
            <pc:docMk/>
            <pc:sldMk cId="866997976" sldId="2146850139"/>
            <ac:spMk id="32" creationId="{13EE2EEB-EA5F-5511-7759-226FEAC7EAA7}"/>
          </ac:spMkLst>
        </pc:spChg>
        <pc:spChg chg="mod">
          <ac:chgData name="Julia Beatriz Ramos da Conceicao" userId="546b567e-2b94-4c57-bb61-1a2a59d23f64" providerId="ADAL" clId="{B5D78A2A-05A7-4094-96E0-E47069D9855A}" dt="2023-10-04T02:42:50.721" v="2899"/>
          <ac:spMkLst>
            <pc:docMk/>
            <pc:sldMk cId="866997976" sldId="2146850139"/>
            <ac:spMk id="33" creationId="{2086A4F2-CA09-92E5-DF87-E1FD5FD08C00}"/>
          </ac:spMkLst>
        </pc:spChg>
        <pc:spChg chg="mod">
          <ac:chgData name="Julia Beatriz Ramos da Conceicao" userId="546b567e-2b94-4c57-bb61-1a2a59d23f64" providerId="ADAL" clId="{B5D78A2A-05A7-4094-96E0-E47069D9855A}" dt="2023-10-04T02:42:50.721" v="2899"/>
          <ac:spMkLst>
            <pc:docMk/>
            <pc:sldMk cId="866997976" sldId="2146850139"/>
            <ac:spMk id="34" creationId="{763F04A1-5C00-D63D-A948-CE04184EEEA3}"/>
          </ac:spMkLst>
        </pc:spChg>
        <pc:spChg chg="mod">
          <ac:chgData name="Julia Beatriz Ramos da Conceicao" userId="546b567e-2b94-4c57-bb61-1a2a59d23f64" providerId="ADAL" clId="{B5D78A2A-05A7-4094-96E0-E47069D9855A}" dt="2023-10-04T02:42:50.721" v="2899"/>
          <ac:spMkLst>
            <pc:docMk/>
            <pc:sldMk cId="866997976" sldId="2146850139"/>
            <ac:spMk id="35" creationId="{7D933EF0-B909-9837-F02C-CF696D809C98}"/>
          </ac:spMkLst>
        </pc:spChg>
        <pc:spChg chg="mod">
          <ac:chgData name="Julia Beatriz Ramos da Conceicao" userId="546b567e-2b94-4c57-bb61-1a2a59d23f64" providerId="ADAL" clId="{B5D78A2A-05A7-4094-96E0-E47069D9855A}" dt="2023-10-04T02:42:50.721" v="2899"/>
          <ac:spMkLst>
            <pc:docMk/>
            <pc:sldMk cId="866997976" sldId="2146850139"/>
            <ac:spMk id="36" creationId="{7760A36E-F734-FC47-B19E-528348EA72AE}"/>
          </ac:spMkLst>
        </pc:spChg>
        <pc:grpChg chg="add del mod">
          <ac:chgData name="Julia Beatriz Ramos da Conceicao" userId="546b567e-2b94-4c57-bb61-1a2a59d23f64" providerId="ADAL" clId="{B5D78A2A-05A7-4094-96E0-E47069D9855A}" dt="2023-10-04T02:42:39.820" v="2897"/>
          <ac:grpSpMkLst>
            <pc:docMk/>
            <pc:sldMk cId="866997976" sldId="2146850139"/>
            <ac:grpSpMk id="6" creationId="{8EE6665C-886C-BA7A-1317-6E54D92C0F8A}"/>
          </ac:grpSpMkLst>
        </pc:grpChg>
        <pc:grpChg chg="mod">
          <ac:chgData name="Julia Beatriz Ramos da Conceicao" userId="546b567e-2b94-4c57-bb61-1a2a59d23f64" providerId="ADAL" clId="{B5D78A2A-05A7-4094-96E0-E47069D9855A}" dt="2023-10-04T02:42:18.303" v="2890"/>
          <ac:grpSpMkLst>
            <pc:docMk/>
            <pc:sldMk cId="866997976" sldId="2146850139"/>
            <ac:grpSpMk id="7" creationId="{6E4ACAA1-E89F-D78C-BA4C-2B5CBA5AC1DB}"/>
          </ac:grpSpMkLst>
        </pc:grpChg>
        <pc:grpChg chg="add del mod">
          <ac:chgData name="Julia Beatriz Ramos da Conceicao" userId="546b567e-2b94-4c57-bb61-1a2a59d23f64" providerId="ADAL" clId="{B5D78A2A-05A7-4094-96E0-E47069D9855A}" dt="2023-10-04T02:43:29.586" v="2987" actId="478"/>
          <ac:grpSpMkLst>
            <pc:docMk/>
            <pc:sldMk cId="866997976" sldId="2146850139"/>
            <ac:grpSpMk id="18" creationId="{9D3434BF-307A-D4F3-51F9-FC73B36532B0}"/>
          </ac:grpSpMkLst>
        </pc:grpChg>
        <pc:grpChg chg="mod">
          <ac:chgData name="Julia Beatriz Ramos da Conceicao" userId="546b567e-2b94-4c57-bb61-1a2a59d23f64" providerId="ADAL" clId="{B5D78A2A-05A7-4094-96E0-E47069D9855A}" dt="2023-10-04T02:42:50.721" v="2899"/>
          <ac:grpSpMkLst>
            <pc:docMk/>
            <pc:sldMk cId="866997976" sldId="2146850139"/>
            <ac:grpSpMk id="24" creationId="{89355FCF-1A66-06FE-BD29-49B61998893F}"/>
          </ac:grpSpMkLst>
        </pc:grpChg>
        <pc:grpChg chg="mod">
          <ac:chgData name="Julia Beatriz Ramos da Conceicao" userId="546b567e-2b94-4c57-bb61-1a2a59d23f64" providerId="ADAL" clId="{B5D78A2A-05A7-4094-96E0-E47069D9855A}" dt="2023-10-04T02:42:50.721" v="2899"/>
          <ac:grpSpMkLst>
            <pc:docMk/>
            <pc:sldMk cId="866997976" sldId="2146850139"/>
            <ac:grpSpMk id="27" creationId="{2DF83285-1FD5-4A81-2C54-6D2B1B3FF6E8}"/>
          </ac:grpSpMkLst>
        </pc:grpChg>
        <pc:cxnChg chg="mod">
          <ac:chgData name="Julia Beatriz Ramos da Conceicao" userId="546b567e-2b94-4c57-bb61-1a2a59d23f64" providerId="ADAL" clId="{B5D78A2A-05A7-4094-96E0-E47069D9855A}" dt="2023-10-04T02:42:23.854" v="2892" actId="478"/>
          <ac:cxnSpMkLst>
            <pc:docMk/>
            <pc:sldMk cId="866997976" sldId="2146850139"/>
            <ac:cxnSpMk id="8" creationId="{14515C1F-6FB5-6094-972B-2DE969203452}"/>
          </ac:cxnSpMkLst>
        </pc:cxnChg>
        <pc:cxnChg chg="mod">
          <ac:chgData name="Julia Beatriz Ramos da Conceicao" userId="546b567e-2b94-4c57-bb61-1a2a59d23f64" providerId="ADAL" clId="{B5D78A2A-05A7-4094-96E0-E47069D9855A}" dt="2023-10-04T02:42:50.721" v="2899"/>
          <ac:cxnSpMkLst>
            <pc:docMk/>
            <pc:sldMk cId="866997976" sldId="2146850139"/>
            <ac:cxnSpMk id="19" creationId="{326C1BB9-46BD-8D63-377E-697694A708D6}"/>
          </ac:cxnSpMkLst>
        </pc:cxnChg>
        <pc:cxnChg chg="mod">
          <ac:chgData name="Julia Beatriz Ramos da Conceicao" userId="546b567e-2b94-4c57-bb61-1a2a59d23f64" providerId="ADAL" clId="{B5D78A2A-05A7-4094-96E0-E47069D9855A}" dt="2023-10-04T02:43:29.586" v="2987" actId="478"/>
          <ac:cxnSpMkLst>
            <pc:docMk/>
            <pc:sldMk cId="866997976" sldId="2146850139"/>
            <ac:cxnSpMk id="20" creationId="{C677199F-37AC-792A-0D31-28924FE52F8A}"/>
          </ac:cxnSpMkLst>
        </pc:cxnChg>
        <pc:cxnChg chg="mod">
          <ac:chgData name="Julia Beatriz Ramos da Conceicao" userId="546b567e-2b94-4c57-bb61-1a2a59d23f64" providerId="ADAL" clId="{B5D78A2A-05A7-4094-96E0-E47069D9855A}" dt="2023-10-04T02:43:29.586" v="2987" actId="478"/>
          <ac:cxnSpMkLst>
            <pc:docMk/>
            <pc:sldMk cId="866997976" sldId="2146850139"/>
            <ac:cxnSpMk id="21" creationId="{38EDD2B1-0CC3-0C31-B70C-AC894931EE13}"/>
          </ac:cxnSpMkLst>
        </pc:cxnChg>
        <pc:cxnChg chg="mod">
          <ac:chgData name="Julia Beatriz Ramos da Conceicao" userId="546b567e-2b94-4c57-bb61-1a2a59d23f64" providerId="ADAL" clId="{B5D78A2A-05A7-4094-96E0-E47069D9855A}" dt="2023-10-04T02:43:29.586" v="2987" actId="478"/>
          <ac:cxnSpMkLst>
            <pc:docMk/>
            <pc:sldMk cId="866997976" sldId="2146850139"/>
            <ac:cxnSpMk id="22" creationId="{89CB1B97-A668-1104-B4C6-9C09CF3ED919}"/>
          </ac:cxnSpMkLst>
        </pc:cxnChg>
        <pc:cxnChg chg="mod">
          <ac:chgData name="Julia Beatriz Ramos da Conceicao" userId="546b567e-2b94-4c57-bb61-1a2a59d23f64" providerId="ADAL" clId="{B5D78A2A-05A7-4094-96E0-E47069D9855A}" dt="2023-10-04T02:43:29.586" v="2987" actId="478"/>
          <ac:cxnSpMkLst>
            <pc:docMk/>
            <pc:sldMk cId="866997976" sldId="2146850139"/>
            <ac:cxnSpMk id="23" creationId="{AB554E3F-2D88-A3FE-3799-98A1303AB158}"/>
          </ac:cxnSpMkLst>
        </pc:cxnChg>
        <pc:cxnChg chg="mod">
          <ac:chgData name="Julia Beatriz Ramos da Conceicao" userId="546b567e-2b94-4c57-bb61-1a2a59d23f64" providerId="ADAL" clId="{B5D78A2A-05A7-4094-96E0-E47069D9855A}" dt="2023-10-04T02:43:29.586" v="2987" actId="478"/>
          <ac:cxnSpMkLst>
            <pc:docMk/>
            <pc:sldMk cId="866997976" sldId="2146850139"/>
            <ac:cxnSpMk id="25" creationId="{1A8EC521-B638-B794-D491-EA1DA3C1B7D6}"/>
          </ac:cxnSpMkLst>
        </pc:cxnChg>
        <pc:cxnChg chg="mod">
          <ac:chgData name="Julia Beatriz Ramos da Conceicao" userId="546b567e-2b94-4c57-bb61-1a2a59d23f64" providerId="ADAL" clId="{B5D78A2A-05A7-4094-96E0-E47069D9855A}" dt="2023-10-04T02:43:29.586" v="2987" actId="478"/>
          <ac:cxnSpMkLst>
            <pc:docMk/>
            <pc:sldMk cId="866997976" sldId="2146850139"/>
            <ac:cxnSpMk id="26" creationId="{E1A17419-5E41-D41A-6CE2-F8F4E701BD51}"/>
          </ac:cxnSpMkLst>
        </pc:cxnChg>
        <pc:cxnChg chg="mod">
          <ac:chgData name="Julia Beatriz Ramos da Conceicao" userId="546b567e-2b94-4c57-bb61-1a2a59d23f64" providerId="ADAL" clId="{B5D78A2A-05A7-4094-96E0-E47069D9855A}" dt="2023-10-04T02:43:29.586" v="2987" actId="478"/>
          <ac:cxnSpMkLst>
            <pc:docMk/>
            <pc:sldMk cId="866997976" sldId="2146850139"/>
            <ac:cxnSpMk id="28" creationId="{2DC3456D-00FC-6399-9331-574B3D882301}"/>
          </ac:cxnSpMkLst>
        </pc:cxnChg>
      </pc:sldChg>
      <pc:sldChg chg="addSp delSp modSp add mod">
        <pc:chgData name="Julia Beatriz Ramos da Conceicao" userId="546b567e-2b94-4c57-bb61-1a2a59d23f64" providerId="ADAL" clId="{B5D78A2A-05A7-4094-96E0-E47069D9855A}" dt="2023-10-04T14:00:00.954" v="3456" actId="207"/>
        <pc:sldMkLst>
          <pc:docMk/>
          <pc:sldMk cId="1257880263" sldId="2146850140"/>
        </pc:sldMkLst>
        <pc:spChg chg="del">
          <ac:chgData name="Julia Beatriz Ramos da Conceicao" userId="546b567e-2b94-4c57-bb61-1a2a59d23f64" providerId="ADAL" clId="{B5D78A2A-05A7-4094-96E0-E47069D9855A}" dt="2023-10-04T02:17:27.824" v="2460" actId="478"/>
          <ac:spMkLst>
            <pc:docMk/>
            <pc:sldMk cId="1257880263" sldId="2146850140"/>
            <ac:spMk id="2" creationId="{6B66F335-8E69-C31F-24CA-A21A4D57FEEA}"/>
          </ac:spMkLst>
        </pc:spChg>
        <pc:spChg chg="mod">
          <ac:chgData name="Julia Beatriz Ramos da Conceicao" userId="546b567e-2b94-4c57-bb61-1a2a59d23f64" providerId="ADAL" clId="{B5D78A2A-05A7-4094-96E0-E47069D9855A}" dt="2023-10-04T02:56:53.678" v="3415"/>
          <ac:spMkLst>
            <pc:docMk/>
            <pc:sldMk cId="1257880263" sldId="2146850140"/>
            <ac:spMk id="3" creationId="{305507F4-E351-B93B-BD52-A2DD35DA6C97}"/>
          </ac:spMkLst>
        </pc:spChg>
        <pc:spChg chg="del mod">
          <ac:chgData name="Julia Beatriz Ramos da Conceicao" userId="546b567e-2b94-4c57-bb61-1a2a59d23f64" providerId="ADAL" clId="{B5D78A2A-05A7-4094-96E0-E47069D9855A}" dt="2023-10-04T02:32:04.863" v="2630" actId="478"/>
          <ac:spMkLst>
            <pc:docMk/>
            <pc:sldMk cId="1257880263" sldId="2146850140"/>
            <ac:spMk id="4" creationId="{2B174AD6-789C-64FB-7D83-4515008344A5}"/>
          </ac:spMkLst>
        </pc:spChg>
        <pc:spChg chg="add mod">
          <ac:chgData name="Julia Beatriz Ramos da Conceicao" userId="546b567e-2b94-4c57-bb61-1a2a59d23f64" providerId="ADAL" clId="{B5D78A2A-05A7-4094-96E0-E47069D9855A}" dt="2023-10-04T02:31:09.759" v="2606" actId="164"/>
          <ac:spMkLst>
            <pc:docMk/>
            <pc:sldMk cId="1257880263" sldId="2146850140"/>
            <ac:spMk id="6" creationId="{C27AD4EC-48F6-7DAB-4D91-226ED255CEF8}"/>
          </ac:spMkLst>
        </pc:spChg>
        <pc:spChg chg="add mod">
          <ac:chgData name="Julia Beatriz Ramos da Conceicao" userId="546b567e-2b94-4c57-bb61-1a2a59d23f64" providerId="ADAL" clId="{B5D78A2A-05A7-4094-96E0-E47069D9855A}" dt="2023-10-04T02:31:09.759" v="2606" actId="164"/>
          <ac:spMkLst>
            <pc:docMk/>
            <pc:sldMk cId="1257880263" sldId="2146850140"/>
            <ac:spMk id="7" creationId="{BA899B91-34A2-126D-3290-BAB3C89F8CC2}"/>
          </ac:spMkLst>
        </pc:spChg>
        <pc:spChg chg="add mod">
          <ac:chgData name="Julia Beatriz Ramos da Conceicao" userId="546b567e-2b94-4c57-bb61-1a2a59d23f64" providerId="ADAL" clId="{B5D78A2A-05A7-4094-96E0-E47069D9855A}" dt="2023-10-04T02:31:09.759" v="2606" actId="164"/>
          <ac:spMkLst>
            <pc:docMk/>
            <pc:sldMk cId="1257880263" sldId="2146850140"/>
            <ac:spMk id="8" creationId="{FE9BB4B8-CB54-C330-BCAC-A1244CA44847}"/>
          </ac:spMkLst>
        </pc:spChg>
        <pc:spChg chg="add mod">
          <ac:chgData name="Julia Beatriz Ramos da Conceicao" userId="546b567e-2b94-4c57-bb61-1a2a59d23f64" providerId="ADAL" clId="{B5D78A2A-05A7-4094-96E0-E47069D9855A}" dt="2023-10-04T02:31:09.759" v="2606" actId="164"/>
          <ac:spMkLst>
            <pc:docMk/>
            <pc:sldMk cId="1257880263" sldId="2146850140"/>
            <ac:spMk id="9" creationId="{9CD04759-8499-D2A8-3036-0D260040CD4A}"/>
          </ac:spMkLst>
        </pc:spChg>
        <pc:spChg chg="add mod">
          <ac:chgData name="Julia Beatriz Ramos da Conceicao" userId="546b567e-2b94-4c57-bb61-1a2a59d23f64" providerId="ADAL" clId="{B5D78A2A-05A7-4094-96E0-E47069D9855A}" dt="2023-10-04T02:31:09.759" v="2606" actId="164"/>
          <ac:spMkLst>
            <pc:docMk/>
            <pc:sldMk cId="1257880263" sldId="2146850140"/>
            <ac:spMk id="10" creationId="{E4C4CFA9-10D0-3B74-C82E-314E31C60C7F}"/>
          </ac:spMkLst>
        </pc:spChg>
        <pc:spChg chg="add mod">
          <ac:chgData name="Julia Beatriz Ramos da Conceicao" userId="546b567e-2b94-4c57-bb61-1a2a59d23f64" providerId="ADAL" clId="{B5D78A2A-05A7-4094-96E0-E47069D9855A}" dt="2023-10-04T02:34:42.753" v="2740" actId="552"/>
          <ac:spMkLst>
            <pc:docMk/>
            <pc:sldMk cId="1257880263" sldId="2146850140"/>
            <ac:spMk id="11" creationId="{35275237-2561-EA37-0791-40B34FD17AC2}"/>
          </ac:spMkLst>
        </pc:spChg>
        <pc:spChg chg="add mod">
          <ac:chgData name="Julia Beatriz Ramos da Conceicao" userId="546b567e-2b94-4c57-bb61-1a2a59d23f64" providerId="ADAL" clId="{B5D78A2A-05A7-4094-96E0-E47069D9855A}" dt="2023-10-04T02:34:42.753" v="2740" actId="552"/>
          <ac:spMkLst>
            <pc:docMk/>
            <pc:sldMk cId="1257880263" sldId="2146850140"/>
            <ac:spMk id="12" creationId="{EC149E1B-A646-F2A6-BEFF-809F82E20BBF}"/>
          </ac:spMkLst>
        </pc:spChg>
        <pc:spChg chg="add mod">
          <ac:chgData name="Julia Beatriz Ramos da Conceicao" userId="546b567e-2b94-4c57-bb61-1a2a59d23f64" providerId="ADAL" clId="{B5D78A2A-05A7-4094-96E0-E47069D9855A}" dt="2023-10-04T02:31:09.759" v="2606" actId="164"/>
          <ac:spMkLst>
            <pc:docMk/>
            <pc:sldMk cId="1257880263" sldId="2146850140"/>
            <ac:spMk id="13" creationId="{C5E64E11-2DD4-8158-03BD-3AD2F7AEB4C4}"/>
          </ac:spMkLst>
        </pc:spChg>
        <pc:spChg chg="add del mod">
          <ac:chgData name="Julia Beatriz Ramos da Conceicao" userId="546b567e-2b94-4c57-bb61-1a2a59d23f64" providerId="ADAL" clId="{B5D78A2A-05A7-4094-96E0-E47069D9855A}" dt="2023-10-04T02:44:56.195" v="3051" actId="478"/>
          <ac:spMkLst>
            <pc:docMk/>
            <pc:sldMk cId="1257880263" sldId="2146850140"/>
            <ac:spMk id="17" creationId="{355A5102-D695-5FAC-B8DF-19E59C7ED491}"/>
          </ac:spMkLst>
        </pc:spChg>
        <pc:spChg chg="add mod">
          <ac:chgData name="Julia Beatriz Ramos da Conceicao" userId="546b567e-2b94-4c57-bb61-1a2a59d23f64" providerId="ADAL" clId="{B5D78A2A-05A7-4094-96E0-E47069D9855A}" dt="2023-10-04T02:53:10.370" v="3371" actId="207"/>
          <ac:spMkLst>
            <pc:docMk/>
            <pc:sldMk cId="1257880263" sldId="2146850140"/>
            <ac:spMk id="18" creationId="{5F466D91-4025-EF2F-CBF7-36C2C58933BE}"/>
          </ac:spMkLst>
        </pc:spChg>
        <pc:spChg chg="add mod">
          <ac:chgData name="Julia Beatriz Ramos da Conceicao" userId="546b567e-2b94-4c57-bb61-1a2a59d23f64" providerId="ADAL" clId="{B5D78A2A-05A7-4094-96E0-E47069D9855A}" dt="2023-10-04T02:48:04.489" v="3219" actId="20577"/>
          <ac:spMkLst>
            <pc:docMk/>
            <pc:sldMk cId="1257880263" sldId="2146850140"/>
            <ac:spMk id="44" creationId="{97E8236F-48F1-6DBE-6969-3676A32C1647}"/>
          </ac:spMkLst>
        </pc:spChg>
        <pc:grpChg chg="add mod">
          <ac:chgData name="Julia Beatriz Ramos da Conceicao" userId="546b567e-2b94-4c57-bb61-1a2a59d23f64" providerId="ADAL" clId="{B5D78A2A-05A7-4094-96E0-E47069D9855A}" dt="2023-10-04T02:42:14.265" v="2889" actId="164"/>
          <ac:grpSpMkLst>
            <pc:docMk/>
            <pc:sldMk cId="1257880263" sldId="2146850140"/>
            <ac:grpSpMk id="15" creationId="{57CE3324-D0E1-4728-44A4-8AC5A9D4CE6C}"/>
          </ac:grpSpMkLst>
        </pc:grpChg>
        <pc:grpChg chg="add mod">
          <ac:chgData name="Julia Beatriz Ramos da Conceicao" userId="546b567e-2b94-4c57-bb61-1a2a59d23f64" providerId="ADAL" clId="{B5D78A2A-05A7-4094-96E0-E47069D9855A}" dt="2023-10-04T02:42:48.348" v="2898" actId="164"/>
          <ac:grpSpMkLst>
            <pc:docMk/>
            <pc:sldMk cId="1257880263" sldId="2146850140"/>
            <ac:grpSpMk id="45" creationId="{30D3CB64-FAB7-2186-0C00-2BED860F16D4}"/>
          </ac:grpSpMkLst>
        </pc:grpChg>
        <pc:grpChg chg="add del mod">
          <ac:chgData name="Julia Beatriz Ramos da Conceicao" userId="546b567e-2b94-4c57-bb61-1a2a59d23f64" providerId="ADAL" clId="{B5D78A2A-05A7-4094-96E0-E47069D9855A}" dt="2023-10-04T02:44:52.741" v="3050" actId="478"/>
          <ac:grpSpMkLst>
            <pc:docMk/>
            <pc:sldMk cId="1257880263" sldId="2146850140"/>
            <ac:grpSpMk id="46" creationId="{E7C7393F-B9F7-C080-0791-64CDB13DB8D0}"/>
          </ac:grpSpMkLst>
        </pc:grpChg>
        <pc:graphicFrameChg chg="add mod ord modGraphic">
          <ac:chgData name="Julia Beatriz Ramos da Conceicao" userId="546b567e-2b94-4c57-bb61-1a2a59d23f64" providerId="ADAL" clId="{B5D78A2A-05A7-4094-96E0-E47069D9855A}" dt="2023-10-04T14:00:00.954" v="3456" actId="207"/>
          <ac:graphicFrameMkLst>
            <pc:docMk/>
            <pc:sldMk cId="1257880263" sldId="2146850140"/>
            <ac:graphicFrameMk id="5" creationId="{221CBF22-DFAE-921F-3315-40C791EADFB4}"/>
          </ac:graphicFrameMkLst>
        </pc:graphicFrameChg>
        <pc:picChg chg="add mod">
          <ac:chgData name="Julia Beatriz Ramos da Conceicao" userId="546b567e-2b94-4c57-bb61-1a2a59d23f64" providerId="ADAL" clId="{B5D78A2A-05A7-4094-96E0-E47069D9855A}" dt="2023-10-04T02:53:16.837" v="3372" actId="207"/>
          <ac:picMkLst>
            <pc:docMk/>
            <pc:sldMk cId="1257880263" sldId="2146850140"/>
            <ac:picMk id="48" creationId="{71C899E3-223C-2BF9-A5BC-643799164411}"/>
          </ac:picMkLst>
        </pc:picChg>
        <pc:cxnChg chg="add mod">
          <ac:chgData name="Julia Beatriz Ramos da Conceicao" userId="546b567e-2b94-4c57-bb61-1a2a59d23f64" providerId="ADAL" clId="{B5D78A2A-05A7-4094-96E0-E47069D9855A}" dt="2023-10-04T02:42:48.348" v="2898" actId="164"/>
          <ac:cxnSpMkLst>
            <pc:docMk/>
            <pc:sldMk cId="1257880263" sldId="2146850140"/>
            <ac:cxnSpMk id="20" creationId="{D9AD5D1D-5CAE-798F-4E4F-6473615C0C1D}"/>
          </ac:cxnSpMkLst>
        </pc:cxnChg>
        <pc:cxnChg chg="add mod">
          <ac:chgData name="Julia Beatriz Ramos da Conceicao" userId="546b567e-2b94-4c57-bb61-1a2a59d23f64" providerId="ADAL" clId="{B5D78A2A-05A7-4094-96E0-E47069D9855A}" dt="2023-10-04T02:44:52.741" v="3050" actId="478"/>
          <ac:cxnSpMkLst>
            <pc:docMk/>
            <pc:sldMk cId="1257880263" sldId="2146850140"/>
            <ac:cxnSpMk id="22" creationId="{22270CFA-C4E4-7588-F420-B2D5F24BE3CE}"/>
          </ac:cxnSpMkLst>
        </pc:cxnChg>
        <pc:cxnChg chg="add mod">
          <ac:chgData name="Julia Beatriz Ramos da Conceicao" userId="546b567e-2b94-4c57-bb61-1a2a59d23f64" providerId="ADAL" clId="{B5D78A2A-05A7-4094-96E0-E47069D9855A}" dt="2023-10-04T02:44:52.741" v="3050" actId="478"/>
          <ac:cxnSpMkLst>
            <pc:docMk/>
            <pc:sldMk cId="1257880263" sldId="2146850140"/>
            <ac:cxnSpMk id="25" creationId="{2BCE2278-770C-E6CD-C906-5EFC93497ACC}"/>
          </ac:cxnSpMkLst>
        </pc:cxnChg>
        <pc:cxnChg chg="add mod">
          <ac:chgData name="Julia Beatriz Ramos da Conceicao" userId="546b567e-2b94-4c57-bb61-1a2a59d23f64" providerId="ADAL" clId="{B5D78A2A-05A7-4094-96E0-E47069D9855A}" dt="2023-10-04T02:44:52.741" v="3050" actId="478"/>
          <ac:cxnSpMkLst>
            <pc:docMk/>
            <pc:sldMk cId="1257880263" sldId="2146850140"/>
            <ac:cxnSpMk id="28" creationId="{9E796AC3-CC82-E3F3-E172-2703F18234E3}"/>
          </ac:cxnSpMkLst>
        </pc:cxnChg>
        <pc:cxnChg chg="add mod">
          <ac:chgData name="Julia Beatriz Ramos da Conceicao" userId="546b567e-2b94-4c57-bb61-1a2a59d23f64" providerId="ADAL" clId="{B5D78A2A-05A7-4094-96E0-E47069D9855A}" dt="2023-10-04T02:44:52.741" v="3050" actId="478"/>
          <ac:cxnSpMkLst>
            <pc:docMk/>
            <pc:sldMk cId="1257880263" sldId="2146850140"/>
            <ac:cxnSpMk id="31" creationId="{12751BB2-CAEA-2B29-0FF3-CA635DE84EC7}"/>
          </ac:cxnSpMkLst>
        </pc:cxnChg>
        <pc:cxnChg chg="add mod">
          <ac:chgData name="Julia Beatriz Ramos da Conceicao" userId="546b567e-2b94-4c57-bb61-1a2a59d23f64" providerId="ADAL" clId="{B5D78A2A-05A7-4094-96E0-E47069D9855A}" dt="2023-10-04T02:44:52.741" v="3050" actId="478"/>
          <ac:cxnSpMkLst>
            <pc:docMk/>
            <pc:sldMk cId="1257880263" sldId="2146850140"/>
            <ac:cxnSpMk id="34" creationId="{94024C16-C805-5223-7963-15AE37C731D3}"/>
          </ac:cxnSpMkLst>
        </pc:cxnChg>
        <pc:cxnChg chg="add mod">
          <ac:chgData name="Julia Beatriz Ramos da Conceicao" userId="546b567e-2b94-4c57-bb61-1a2a59d23f64" providerId="ADAL" clId="{B5D78A2A-05A7-4094-96E0-E47069D9855A}" dt="2023-10-04T02:44:52.741" v="3050" actId="478"/>
          <ac:cxnSpMkLst>
            <pc:docMk/>
            <pc:sldMk cId="1257880263" sldId="2146850140"/>
            <ac:cxnSpMk id="38" creationId="{896D8125-C1CB-FB63-18AD-D3ADA5AFCF3F}"/>
          </ac:cxnSpMkLst>
        </pc:cxnChg>
        <pc:cxnChg chg="add mod">
          <ac:chgData name="Julia Beatriz Ramos da Conceicao" userId="546b567e-2b94-4c57-bb61-1a2a59d23f64" providerId="ADAL" clId="{B5D78A2A-05A7-4094-96E0-E47069D9855A}" dt="2023-10-04T02:44:52.741" v="3050" actId="478"/>
          <ac:cxnSpMkLst>
            <pc:docMk/>
            <pc:sldMk cId="1257880263" sldId="2146850140"/>
            <ac:cxnSpMk id="40" creationId="{6E8E0D3F-637D-FC67-E4A0-39D133195FB4}"/>
          </ac:cxnSpMkLst>
        </pc:cxnChg>
      </pc:sldChg>
      <pc:sldChg chg="modSp add mod">
        <pc:chgData name="Julia Beatriz Ramos da Conceicao" userId="546b567e-2b94-4c57-bb61-1a2a59d23f64" providerId="ADAL" clId="{B5D78A2A-05A7-4094-96E0-E47069D9855A}" dt="2023-10-04T02:56:26.703" v="3413" actId="20577"/>
        <pc:sldMkLst>
          <pc:docMk/>
          <pc:sldMk cId="2960977107" sldId="2146850141"/>
        </pc:sldMkLst>
        <pc:spChg chg="mod">
          <ac:chgData name="Julia Beatriz Ramos da Conceicao" userId="546b567e-2b94-4c57-bb61-1a2a59d23f64" providerId="ADAL" clId="{B5D78A2A-05A7-4094-96E0-E47069D9855A}" dt="2023-10-04T02:56:26.703" v="3413" actId="20577"/>
          <ac:spMkLst>
            <pc:docMk/>
            <pc:sldMk cId="2960977107" sldId="2146850141"/>
            <ac:spMk id="3" creationId="{305507F4-E351-B93B-BD52-A2DD35DA6C97}"/>
          </ac:spMkLst>
        </pc:spChg>
      </pc:sldChg>
      <pc:sldChg chg="delSp modSp add mod ord">
        <pc:chgData name="Julia Beatriz Ramos da Conceicao" userId="546b567e-2b94-4c57-bb61-1a2a59d23f64" providerId="ADAL" clId="{B5D78A2A-05A7-4094-96E0-E47069D9855A}" dt="2023-10-04T02:56:34.935" v="3414"/>
        <pc:sldMkLst>
          <pc:docMk/>
          <pc:sldMk cId="3957329574" sldId="2146850142"/>
        </pc:sldMkLst>
        <pc:spChg chg="mod">
          <ac:chgData name="Julia Beatriz Ramos da Conceicao" userId="546b567e-2b94-4c57-bb61-1a2a59d23f64" providerId="ADAL" clId="{B5D78A2A-05A7-4094-96E0-E47069D9855A}" dt="2023-10-04T02:56:34.935" v="3414"/>
          <ac:spMkLst>
            <pc:docMk/>
            <pc:sldMk cId="3957329574" sldId="2146850142"/>
            <ac:spMk id="3" creationId="{305507F4-E351-B93B-BD52-A2DD35DA6C97}"/>
          </ac:spMkLst>
        </pc:spChg>
        <pc:spChg chg="del">
          <ac:chgData name="Julia Beatriz Ramos da Conceicao" userId="546b567e-2b94-4c57-bb61-1a2a59d23f64" providerId="ADAL" clId="{B5D78A2A-05A7-4094-96E0-E47069D9855A}" dt="2023-10-04T02:53:59.772" v="3375" actId="478"/>
          <ac:spMkLst>
            <pc:docMk/>
            <pc:sldMk cId="3957329574" sldId="2146850142"/>
            <ac:spMk id="18" creationId="{5F466D91-4025-EF2F-CBF7-36C2C58933BE}"/>
          </ac:spMkLst>
        </pc:spChg>
        <pc:graphicFrameChg chg="del">
          <ac:chgData name="Julia Beatriz Ramos da Conceicao" userId="546b567e-2b94-4c57-bb61-1a2a59d23f64" providerId="ADAL" clId="{B5D78A2A-05A7-4094-96E0-E47069D9855A}" dt="2023-10-04T02:54:06.725" v="3376" actId="478"/>
          <ac:graphicFrameMkLst>
            <pc:docMk/>
            <pc:sldMk cId="3957329574" sldId="2146850142"/>
            <ac:graphicFrameMk id="5" creationId="{221CBF22-DFAE-921F-3315-40C791EADFB4}"/>
          </ac:graphicFrameMkLst>
        </pc:graphicFrameChg>
        <pc:picChg chg="del">
          <ac:chgData name="Julia Beatriz Ramos da Conceicao" userId="546b567e-2b94-4c57-bb61-1a2a59d23f64" providerId="ADAL" clId="{B5D78A2A-05A7-4094-96E0-E47069D9855A}" dt="2023-10-04T02:53:59.772" v="3375" actId="478"/>
          <ac:picMkLst>
            <pc:docMk/>
            <pc:sldMk cId="3957329574" sldId="2146850142"/>
            <ac:picMk id="48" creationId="{71C899E3-223C-2BF9-A5BC-643799164411}"/>
          </ac:picMkLst>
        </pc:picChg>
      </pc:sldChg>
      <pc:sldChg chg="add mod modShow">
        <pc:chgData name="Julia Beatriz Ramos da Conceicao" userId="546b567e-2b94-4c57-bb61-1a2a59d23f64" providerId="ADAL" clId="{B5D78A2A-05A7-4094-96E0-E47069D9855A}" dt="2023-10-04T14:15:03.666" v="3458" actId="729"/>
        <pc:sldMkLst>
          <pc:docMk/>
          <pc:sldMk cId="1525579019" sldId="2146850144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4DF51C-BFD0-483E-BDCF-F4238AC46EC8}" type="datetimeFigureOut">
              <a:rPr lang="pt-BR" smtClean="0"/>
              <a:t>11/10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56CF21-126A-46F8-8BE3-8AD4EF3AAE3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10246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56CF21-126A-46F8-8BE3-8AD4EF3AAE32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63337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18847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16060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20432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6867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64897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98342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95020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0407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A50984A-7D7F-CCFA-D679-3EE79667C9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35FAB07-95A4-93FE-AA06-7DF18DE74B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B555999-082C-9F48-7442-1CDE414BBD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11/10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1B0B4F8-D5F8-63FB-B33E-3528138C97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6E6E3C1-4D02-833D-4713-F565ABAEE1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400474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B6F0808-A740-48F7-7007-7560B795DB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3D0B54B1-DCDC-D416-9AC4-5F7C71B50A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3882F40-B75E-F854-B34F-8168524CB8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11/10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ED36B21-5F48-EAE1-CF87-2C58C6DA7D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5132DDE-3D2C-1E91-A20D-55B9E78D6A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535127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6A2DE907-E45C-1ECC-80F5-2373B10D94B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2D6F50CB-66A7-B0F3-7BC5-B24F4DE0FB3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2F4C00D1-C69F-8AD6-57B2-3FB0481659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11/10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D49B8F6-E271-0BA3-9B9F-1BF08BF35F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E71F45F-54C2-CCAF-7FF9-3FE43A9A3C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43506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com Único Canto Arredondado 1">
            <a:extLst>
              <a:ext uri="{FF2B5EF4-FFF2-40B4-BE49-F238E27FC236}">
                <a16:creationId xmlns:a16="http://schemas.microsoft.com/office/drawing/2014/main" id="{78322206-6586-7324-09A4-EDD0D52C765B}"/>
              </a:ext>
            </a:extLst>
          </p:cNvPr>
          <p:cNvSpPr>
            <a:spLocks/>
          </p:cNvSpPr>
          <p:nvPr userDrawn="1"/>
        </p:nvSpPr>
        <p:spPr>
          <a:xfrm rot="10800000" flipH="1">
            <a:off x="-10160" y="-10160"/>
            <a:ext cx="11594899" cy="902477"/>
          </a:xfrm>
          <a:prstGeom prst="round1Rect">
            <a:avLst>
              <a:gd name="adj" fmla="val 45148"/>
            </a:avLst>
          </a:prstGeom>
          <a:solidFill>
            <a:srgbClr val="0170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02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B8FF75F5-9821-044B-BDE6-C166D9B0DDCE}"/>
              </a:ext>
            </a:extLst>
          </p:cNvPr>
          <p:cNvSpPr txBox="1"/>
          <p:nvPr userDrawn="1"/>
        </p:nvSpPr>
        <p:spPr>
          <a:xfrm>
            <a:off x="-7635" y="967666"/>
            <a:ext cx="119049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pt-BR" sz="16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600"/>
          </a:p>
        </p:txBody>
      </p:sp>
      <p:pic>
        <p:nvPicPr>
          <p:cNvPr id="5" name="Picture 2" descr="Resultado de imagem para logo P&amp;D ANEEL">
            <a:extLst>
              <a:ext uri="{FF2B5EF4-FFF2-40B4-BE49-F238E27FC236}">
                <a16:creationId xmlns:a16="http://schemas.microsoft.com/office/drawing/2014/main" id="{3FD211F5-1B32-BD63-424D-BD9D01DBF8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1369" y="6097002"/>
            <a:ext cx="987101" cy="987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02E74F7E-2473-1CAA-C220-A6E6D7F1DE0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2576" y="6262273"/>
            <a:ext cx="668850" cy="491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2260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351CA2F-2638-713C-2D88-78A5DB55BB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DB0B0AE-A33B-578B-D505-4ACD957808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A1114B3-4896-4C8A-6451-EDB2FD25D9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11/10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0AC0C06-F59B-1D81-93F8-4DE14361C2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AB9C808-E66F-4F0B-FB83-285E4B10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7578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0A94D13-9827-A1E6-33A0-133ADD4D04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FEB4A93-2AE7-FEB8-AF23-F9CE3D2283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0B581A5-5FF4-2193-9886-8A0EB7C402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11/10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1186C9A-7390-A21B-38E6-189D456C4F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BE706B6-CDEF-62BB-B917-96B176749A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318792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BE556B-34A6-0298-E82A-26B0E8CBEA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347C2FA-7E6B-DE96-EC56-F562CB23ED2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C96438A-0571-DFF9-8BB7-353174168F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90762B3F-3078-C705-9B69-BD9D877916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11/10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4FD5BAA0-AB75-9A51-7145-9F5646A910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7A923519-E8A5-A4E9-0FF2-DF84DB41A4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956365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2CAF413-F0BA-3CA0-129C-366D68C83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84827E0-CE4F-C6B9-9D51-1EB6C5B021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BCD1152-9F23-D410-D47D-C8D0BA9F0E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F84092A1-C0F7-A392-8BF2-2CDC434909A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5CF35435-524B-364C-BBC6-6984ED01DCF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EC0FE5DA-7D09-B2A7-E802-6A1A9B4477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11/10/2023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7B5D640D-1103-DF8F-2330-61C58B84A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AABF0519-C4E9-D9BF-1588-E365A8DBDC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166076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97B55DF-D967-5444-51FF-48FFEF7AA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639D294A-C2B8-2A35-E6B1-A9AE411E0F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11/10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8D5B7693-76C0-8DDE-206F-FE0B8C48C5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F8D5FBE2-D2FF-6EA2-B2BA-6964D0553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046496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BE679E63-336D-DDBF-DA4D-9B8215DBDF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11/10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372AE173-2FB4-592F-414D-2D1EFE4ECC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AB43D717-4AD1-2E91-EBAB-8C699DA801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769113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AF84764-7DEF-C887-C51A-E1E178AE15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68B1EC0-C179-45F9-C098-1376B3A3CE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8B46491-FE57-69B5-BA36-E2235563B4C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6115CE1-1F97-3990-72D6-63DF4D7F0E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11/10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65CC41C2-223A-FE49-2D9B-78687FD491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807102AB-D27D-E9C4-FFA8-CB5AAFB151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101805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F9D7773-B213-862C-B276-5D4231461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4B15A436-6094-569A-85DA-B43018388D2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01A25572-7BD6-618C-135C-1DF22C1191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EB04F67B-60AE-6470-C096-52FAD5D13B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11/10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06D35CFC-1452-C6F3-7787-6ED8E35593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7E3F9E69-2339-37D6-1159-EE135AA63A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488145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3BEAC0F-EB30-FF1B-7CCB-C4A93B42DD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311228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5" imgW="395" imgH="396" progId="TCLayout.ActiveDocument.1">
                  <p:embed/>
                </p:oleObj>
              </mc:Choice>
              <mc:Fallback>
                <p:oleObj name="Slide do think-cell" r:id="rId15" imgW="395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BEAC0F-EB30-FF1B-7CCB-C4A93B42DD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3AE5DF69-60F9-732E-EB9E-EDB7783CC5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FB13629-8665-6858-896C-7E076977A4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7C9D773-053E-8DFB-C839-93B7A64954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60310E-1249-46B8-8FDD-C6C2F49D3337}" type="datetimeFigureOut">
              <a:rPr lang="pt-BR" smtClean="0"/>
              <a:t>11/10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957B187-5320-F860-7BAD-3957F96D35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CD51385-4867-C537-76CC-1FC93115CC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  <p:sp>
        <p:nvSpPr>
          <p:cNvPr id="7" name="MSIPCMContentMarking" descr="{&quot;HashCode&quot;:-1133655239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7FD8EFD6-946D-4707-EDFB-46BA27B191E2}"/>
              </a:ext>
            </a:extLst>
          </p:cNvPr>
          <p:cNvSpPr txBox="1"/>
          <p:nvPr userDrawn="1"/>
        </p:nvSpPr>
        <p:spPr>
          <a:xfrm>
            <a:off x="0" y="0"/>
            <a:ext cx="1170237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pt-BR" sz="1000">
                <a:solidFill>
                  <a:srgbClr val="0000FF"/>
                </a:solidFill>
                <a:latin typeface="Calibri" panose="020F0502020204030204" pitchFamily="34" charset="0"/>
              </a:rPr>
              <a:t>Uso Interno CPFL</a:t>
            </a:r>
          </a:p>
        </p:txBody>
      </p:sp>
    </p:spTree>
    <p:extLst>
      <p:ext uri="{BB962C8B-B14F-4D97-AF65-F5344CB8AC3E}">
        <p14:creationId xmlns:p14="http://schemas.microsoft.com/office/powerpoint/2010/main" val="3321107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0650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530" imgH="531" progId="TCLayout.ActiveDocument.1">
                  <p:embed/>
                </p:oleObj>
              </mc:Choice>
              <mc:Fallback>
                <p:oleObj name="Slide do think-cell" r:id="rId4" imgW="530" imgH="531" progId="TCLayout.ActiveDocument.1">
                  <p:embed/>
                  <p:pic>
                    <p:nvPicPr>
                      <p:cNvPr id="6" name="Objeto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4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162181" y="97881"/>
            <a:ext cx="7867639" cy="639067"/>
          </a:xfrm>
        </p:spPr>
        <p:txBody>
          <a:bodyPr>
            <a:normAutofit fontScale="90000"/>
          </a:bodyPr>
          <a:lstStyle/>
          <a:p>
            <a:r>
              <a:rPr lang="pt-BR" dirty="0"/>
              <a:t>Guia para a Apresentação Executiva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43354" y="918534"/>
            <a:ext cx="11833998" cy="5726106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pt-BR" sz="2500" b="1" dirty="0"/>
              <a:t>Objetivo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2500" dirty="0"/>
              <a:t>Apresentar a solução proposta e os principais aspectos do projeto de forma executiva.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pt-BR" sz="25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2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Orientações gerais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pt-BR" sz="2500" dirty="0">
                <a:solidFill>
                  <a:prstClr val="black"/>
                </a:solidFill>
              </a:rPr>
              <a:t>Cada seção contém uma relação do conteúdo necessário para elaboração do material;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pt-BR" sz="2500" dirty="0">
                <a:solidFill>
                  <a:prstClr val="black"/>
                </a:solidFill>
              </a:rPr>
              <a:t>Cada seção pode ser elaborada em mais de 1 slide;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pt-BR" sz="2500" dirty="0">
                <a:solidFill>
                  <a:prstClr val="black"/>
                </a:solidFill>
              </a:rPr>
              <a:t>Use uma linguagem clara, direta e didática;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pt-BR" sz="2500" dirty="0">
                <a:solidFill>
                  <a:prstClr val="black"/>
                </a:solidFill>
              </a:rPr>
              <a:t>Dê preferência para esquemáticos, fluxogramas, imagens e afins a textos longos, mas insira os textos necessários para entendimento autossuficiente do material;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pt-BR" sz="2500" dirty="0">
                <a:solidFill>
                  <a:prstClr val="black"/>
                </a:solidFill>
              </a:rPr>
              <a:t>Use “</a:t>
            </a:r>
            <a:r>
              <a:rPr lang="pt-BR" sz="2500" dirty="0" err="1">
                <a:solidFill>
                  <a:prstClr val="black"/>
                </a:solidFill>
              </a:rPr>
              <a:t>action</a:t>
            </a:r>
            <a:r>
              <a:rPr lang="pt-BR" sz="2500" dirty="0">
                <a:solidFill>
                  <a:prstClr val="black"/>
                </a:solidFill>
              </a:rPr>
              <a:t> </a:t>
            </a:r>
            <a:r>
              <a:rPr lang="pt-BR" sz="2500" dirty="0" err="1">
                <a:solidFill>
                  <a:prstClr val="black"/>
                </a:solidFill>
              </a:rPr>
              <a:t>titles</a:t>
            </a:r>
            <a:r>
              <a:rPr lang="pt-BR" sz="2500" dirty="0">
                <a:solidFill>
                  <a:prstClr val="black"/>
                </a:solidFill>
              </a:rPr>
              <a:t>” ao invés de títulos pontuais para resumir o conteúdo de cada slide;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kumimoji="0" lang="pt-BR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O </a:t>
            </a:r>
            <a:r>
              <a:rPr kumimoji="0" lang="pt-BR" sz="25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material não deverá conter</a:t>
            </a:r>
            <a:r>
              <a:rPr lang="pt-BR" sz="2500" dirty="0">
                <a:solidFill>
                  <a:prstClr val="black"/>
                </a:solidFill>
              </a:rPr>
              <a:t> a</a:t>
            </a:r>
            <a:r>
              <a:rPr kumimoji="0" lang="pt-BR" sz="2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resentação</a:t>
            </a:r>
            <a:r>
              <a:rPr kumimoji="0" lang="pt-BR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institucional dos parceiros.</a:t>
            </a:r>
            <a:endParaRPr lang="pt-BR" sz="2500" dirty="0">
              <a:solidFill>
                <a:prstClr val="black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pt-BR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Imagem 12" descr="Resultado de imagem para cpfl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3639" y="97881"/>
            <a:ext cx="633713" cy="57267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4" name="Grupo 13"/>
          <p:cNvGrpSpPr/>
          <p:nvPr/>
        </p:nvGrpSpPr>
        <p:grpSpPr>
          <a:xfrm>
            <a:off x="2936875" y="723192"/>
            <a:ext cx="6318250" cy="635"/>
            <a:chOff x="0" y="561680"/>
            <a:chExt cx="9144000" cy="1098"/>
          </a:xfrm>
        </p:grpSpPr>
        <p:cxnSp>
          <p:nvCxnSpPr>
            <p:cNvPr id="15" name="Straight Connector 11"/>
            <p:cNvCxnSpPr/>
            <p:nvPr/>
          </p:nvCxnSpPr>
          <p:spPr>
            <a:xfrm>
              <a:off x="0" y="561680"/>
              <a:ext cx="1828800" cy="1098"/>
            </a:xfrm>
            <a:prstGeom prst="line">
              <a:avLst/>
            </a:prstGeom>
            <a:noFill/>
            <a:ln w="31750" cap="flat" cmpd="sng" algn="ctr">
              <a:solidFill>
                <a:srgbClr val="16A8D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Straight Connector 19"/>
            <p:cNvCxnSpPr/>
            <p:nvPr/>
          </p:nvCxnSpPr>
          <p:spPr>
            <a:xfrm>
              <a:off x="1828800" y="561680"/>
              <a:ext cx="1828800" cy="1098"/>
            </a:xfrm>
            <a:prstGeom prst="line">
              <a:avLst/>
            </a:prstGeom>
            <a:noFill/>
            <a:ln w="31750" cap="flat" cmpd="sng" algn="ctr">
              <a:solidFill>
                <a:srgbClr val="F0871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" name="Straight Connector 20"/>
            <p:cNvCxnSpPr/>
            <p:nvPr/>
          </p:nvCxnSpPr>
          <p:spPr>
            <a:xfrm>
              <a:off x="3657600" y="561680"/>
              <a:ext cx="1828800" cy="1098"/>
            </a:xfrm>
            <a:prstGeom prst="line">
              <a:avLst/>
            </a:prstGeom>
            <a:noFill/>
            <a:ln w="31750" cap="flat" cmpd="sng" algn="ctr">
              <a:solidFill>
                <a:srgbClr val="E21B27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" name="Straight Connector 21"/>
            <p:cNvCxnSpPr/>
            <p:nvPr/>
          </p:nvCxnSpPr>
          <p:spPr>
            <a:xfrm>
              <a:off x="5486400" y="561680"/>
              <a:ext cx="1828800" cy="1098"/>
            </a:xfrm>
            <a:prstGeom prst="line">
              <a:avLst/>
            </a:prstGeom>
            <a:noFill/>
            <a:ln w="31750" cap="flat" cmpd="sng" algn="ctr">
              <a:solidFill>
                <a:srgbClr val="8DBB2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" name="Straight Connector 23"/>
            <p:cNvCxnSpPr/>
            <p:nvPr/>
          </p:nvCxnSpPr>
          <p:spPr>
            <a:xfrm>
              <a:off x="7315200" y="561680"/>
              <a:ext cx="1828800" cy="1098"/>
            </a:xfrm>
            <a:prstGeom prst="line">
              <a:avLst/>
            </a:prstGeom>
            <a:noFill/>
            <a:ln w="3175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1753780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38F99C-5A43-9E64-FBBF-AD5A499C0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8F99C-5A43-9E64-FBBF-AD5A499C0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05507F4-E351-B93B-BD52-A2DD35DA6C97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apontando as contrapartidas da proposta</a:t>
            </a:r>
            <a:endParaRPr lang="en-US" sz="2222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CaixaDeTexto 10">
            <a:extLst>
              <a:ext uri="{FF2B5EF4-FFF2-40B4-BE49-F238E27FC236}">
                <a16:creationId xmlns:a16="http://schemas.microsoft.com/office/drawing/2014/main" id="{9A9B7F35-4120-B8A1-9CED-DC9D5BE43BF0}"/>
              </a:ext>
            </a:extLst>
          </p:cNvPr>
          <p:cNvSpPr txBox="1"/>
          <p:nvPr/>
        </p:nvSpPr>
        <p:spPr>
          <a:xfrm>
            <a:off x="650222" y="1174353"/>
            <a:ext cx="10528493" cy="3418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ormações </a:t>
            </a:r>
            <a:r>
              <a:rPr lang="pt-BR" sz="2000" b="1" dirty="0">
                <a:solidFill>
                  <a:srgbClr val="F58A1F"/>
                </a:solidFill>
                <a:latin typeface="Tahoma"/>
              </a:rPr>
              <a:t>n</a:t>
            </a:r>
            <a:r>
              <a:rPr kumimoji="0" 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cessárias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nesta seção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solidado dos custos do projeto por rubrica e instituição (template no slide a seguir);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lação dos principais itens que 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</a:t>
            </a:r>
            <a:r>
              <a:rPr lang="pt-BR" dirty="0" err="1">
                <a:solidFill>
                  <a:srgbClr val="636463"/>
                </a:solidFill>
                <a:latin typeface="Tahoma"/>
              </a:rPr>
              <a:t>õem</a:t>
            </a:r>
            <a:r>
              <a:rPr lang="pt-BR" dirty="0">
                <a:solidFill>
                  <a:srgbClr val="636463"/>
                </a:solidFill>
                <a:latin typeface="Tahoma"/>
              </a:rPr>
              <a:t> os custos do projeto;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Quais tipos de recursos serão necessários para entrega das frentes de desenvolvimento?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ormações e dados (tipo, detalhamento, periodicidade, volume)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raestrutura (qual?, por quanto tempo?, frequência estimada?)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cursos Humanos (qual especialidade?, dedicação estimada [h], frequência das interações).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scrição e quantificação das contrapartidas propostas pelos parceiros.</a:t>
            </a:r>
          </a:p>
        </p:txBody>
      </p:sp>
    </p:spTree>
    <p:extLst>
      <p:ext uri="{BB962C8B-B14F-4D97-AF65-F5344CB8AC3E}">
        <p14:creationId xmlns:p14="http://schemas.microsoft.com/office/powerpoint/2010/main" val="10428782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38F99C-5A43-9E64-FBBF-AD5A499C0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8F99C-5A43-9E64-FBBF-AD5A499C0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05507F4-E351-B93B-BD52-A2DD35DA6C97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apontando as contrapartidas da proposta</a:t>
            </a:r>
            <a:endParaRPr lang="en-US" sz="2222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2" name="Tabela 2">
            <a:extLst>
              <a:ext uri="{FF2B5EF4-FFF2-40B4-BE49-F238E27FC236}">
                <a16:creationId xmlns:a16="http://schemas.microsoft.com/office/drawing/2014/main" id="{9626C707-67E1-8DAE-38E8-C969D11932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7248233"/>
              </p:ext>
            </p:extLst>
          </p:nvPr>
        </p:nvGraphicFramePr>
        <p:xfrm>
          <a:off x="604468" y="1085912"/>
          <a:ext cx="10619997" cy="5174798"/>
        </p:xfrm>
        <a:graphic>
          <a:graphicData uri="http://schemas.openxmlformats.org/drawingml/2006/table">
            <a:tbl>
              <a:tblPr/>
              <a:tblGrid>
                <a:gridCol w="16930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391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391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39130">
                  <a:extLst>
                    <a:ext uri="{9D8B030D-6E8A-4147-A177-3AD203B41FA5}">
                      <a16:colId xmlns:a16="http://schemas.microsoft.com/office/drawing/2014/main" val="3460630878"/>
                    </a:ext>
                  </a:extLst>
                </a:gridCol>
                <a:gridCol w="15391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9304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7739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532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 noProof="0" dirty="0" err="1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brica</a:t>
                      </a:r>
                      <a:r>
                        <a:rPr lang="en-US" sz="16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(</a:t>
                      </a:r>
                      <a:r>
                        <a:rPr lang="en-US" sz="1600" b="1" i="0" u="none" strike="noStrike" noProof="0" dirty="0" err="1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R</a:t>
                      </a:r>
                      <a:r>
                        <a:rPr lang="en-US" sz="16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$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D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PFL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C24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Parceiro 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arceiro 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231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ontrapartid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OTAL (</a:t>
                      </a:r>
                      <a:r>
                        <a:rPr lang="en-US" sz="1600" b="1" i="0" u="none" strike="noStrike" noProof="0" dirty="0" err="1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R</a:t>
                      </a:r>
                      <a:r>
                        <a:rPr lang="en-US" sz="16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$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C34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022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500" b="0" i="0" u="none" strike="noStrike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H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5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022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500" b="0" i="0" u="none" strike="noStrike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022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i="0" u="none" strike="noStrike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022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500" b="0" i="0" u="none" strike="noStrike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6022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500" b="0" i="0" u="none" strike="noStrike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V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6022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i="0" u="none" strike="noStrike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U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6022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500" b="1" i="0" u="none" strike="noStrike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OTAL (</a:t>
                      </a:r>
                      <a:r>
                        <a:rPr lang="en-US" sz="1500" b="1" i="0" u="none" strike="noStrike" kern="1200" noProof="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R</a:t>
                      </a:r>
                      <a:r>
                        <a:rPr lang="en-US" sz="1500" b="1" i="0" u="none" strike="noStrike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$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500" b="1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0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11626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Imagem 25">
            <a:extLst>
              <a:ext uri="{FF2B5EF4-FFF2-40B4-BE49-F238E27FC236}">
                <a16:creationId xmlns:a16="http://schemas.microsoft.com/office/drawing/2014/main" id="{8959DDB1-68E0-F67E-7D9B-14A48D98078F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66" b="3066"/>
          <a:stretch/>
        </p:blipFill>
        <p:spPr>
          <a:xfrm>
            <a:off x="0" y="895"/>
            <a:ext cx="12192000" cy="6857105"/>
          </a:xfrm>
          <a:prstGeom prst="rect">
            <a:avLst/>
          </a:prstGeom>
        </p:spPr>
      </p:pic>
      <p:grpSp>
        <p:nvGrpSpPr>
          <p:cNvPr id="8" name="Agrupar 7">
            <a:extLst>
              <a:ext uri="{FF2B5EF4-FFF2-40B4-BE49-F238E27FC236}">
                <a16:creationId xmlns:a16="http://schemas.microsoft.com/office/drawing/2014/main" id="{CB02A419-6D58-1E66-1E3A-743533B69CCF}"/>
              </a:ext>
            </a:extLst>
          </p:cNvPr>
          <p:cNvGrpSpPr/>
          <p:nvPr/>
        </p:nvGrpSpPr>
        <p:grpSpPr>
          <a:xfrm rot="10800000" flipH="1" flipV="1">
            <a:off x="-571235" y="3159392"/>
            <a:ext cx="12763234" cy="3472227"/>
            <a:chOff x="7724873" y="4082137"/>
            <a:chExt cx="15972145" cy="4272472"/>
          </a:xfrm>
        </p:grpSpPr>
        <p:cxnSp>
          <p:nvCxnSpPr>
            <p:cNvPr id="9" name="Conector Reto 35">
              <a:extLst>
                <a:ext uri="{FF2B5EF4-FFF2-40B4-BE49-F238E27FC236}">
                  <a16:creationId xmlns:a16="http://schemas.microsoft.com/office/drawing/2014/main" id="{84B8E434-4692-ECD9-4C9C-92BB27DE8584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7724873" y="4082137"/>
              <a:ext cx="583283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Arco 9">
              <a:extLst>
                <a:ext uri="{FF2B5EF4-FFF2-40B4-BE49-F238E27FC236}">
                  <a16:creationId xmlns:a16="http://schemas.microsoft.com/office/drawing/2014/main" id="{5D3EB621-8414-378B-1C2F-D62065EA8D58}"/>
                </a:ext>
              </a:extLst>
            </p:cNvPr>
            <p:cNvSpPr/>
            <p:nvPr/>
          </p:nvSpPr>
          <p:spPr>
            <a:xfrm>
              <a:off x="12146779" y="4082137"/>
              <a:ext cx="2816932" cy="2816932"/>
            </a:xfrm>
            <a:prstGeom prst="arc">
              <a:avLst>
                <a:gd name="adj1" fmla="val 16200000"/>
                <a:gd name="adj2" fmla="val 5423995"/>
              </a:avLst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 sz="1302"/>
            </a:p>
          </p:txBody>
        </p:sp>
        <p:cxnSp>
          <p:nvCxnSpPr>
            <p:cNvPr id="11" name="Conector Reto 37">
              <a:extLst>
                <a:ext uri="{FF2B5EF4-FFF2-40B4-BE49-F238E27FC236}">
                  <a16:creationId xmlns:a16="http://schemas.microsoft.com/office/drawing/2014/main" id="{942E6B6C-CB73-421A-E707-DEC95F431987}"/>
                </a:ext>
              </a:extLst>
            </p:cNvPr>
            <p:cNvCxnSpPr>
              <a:cxnSpLocks/>
            </p:cNvCxnSpPr>
            <p:nvPr/>
          </p:nvCxnSpPr>
          <p:spPr>
            <a:xfrm>
              <a:off x="11289222" y="6899069"/>
              <a:ext cx="2263239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Arco 11">
              <a:extLst>
                <a:ext uri="{FF2B5EF4-FFF2-40B4-BE49-F238E27FC236}">
                  <a16:creationId xmlns:a16="http://schemas.microsoft.com/office/drawing/2014/main" id="{157EFFEC-7837-37BA-C531-FA06EAFDECA9}"/>
                </a:ext>
              </a:extLst>
            </p:cNvPr>
            <p:cNvSpPr/>
            <p:nvPr/>
          </p:nvSpPr>
          <p:spPr>
            <a:xfrm rot="10800000">
              <a:off x="10560027" y="6899069"/>
              <a:ext cx="1448261" cy="1448261"/>
            </a:xfrm>
            <a:prstGeom prst="arc">
              <a:avLst>
                <a:gd name="adj1" fmla="val 16200000"/>
                <a:gd name="adj2" fmla="val 5423995"/>
              </a:avLst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 sz="1302"/>
            </a:p>
          </p:txBody>
        </p:sp>
        <p:cxnSp>
          <p:nvCxnSpPr>
            <p:cNvPr id="13" name="Conector Reto 39">
              <a:extLst>
                <a:ext uri="{FF2B5EF4-FFF2-40B4-BE49-F238E27FC236}">
                  <a16:creationId xmlns:a16="http://schemas.microsoft.com/office/drawing/2014/main" id="{15C33A19-211B-DD7A-2E8C-81C8922C8B8B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11284157" y="8354609"/>
              <a:ext cx="12412861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tângulo com Único Canto Arredondado 26">
            <a:extLst>
              <a:ext uri="{FF2B5EF4-FFF2-40B4-BE49-F238E27FC236}">
                <a16:creationId xmlns:a16="http://schemas.microsoft.com/office/drawing/2014/main" id="{82E193B3-9107-382A-865C-F9367472BD36}"/>
              </a:ext>
            </a:extLst>
          </p:cNvPr>
          <p:cNvSpPr/>
          <p:nvPr/>
        </p:nvSpPr>
        <p:spPr>
          <a:xfrm flipH="1">
            <a:off x="10735395" y="5659864"/>
            <a:ext cx="1456605" cy="1198136"/>
          </a:xfrm>
          <a:prstGeom prst="round1Rect">
            <a:avLst>
              <a:gd name="adj" fmla="val 322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50"/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21554205-5AB7-5790-9432-749AC3EE15A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720" y="5919862"/>
            <a:ext cx="862542" cy="633953"/>
          </a:xfrm>
          <a:prstGeom prst="rect">
            <a:avLst/>
          </a:prstGeom>
        </p:spPr>
      </p:pic>
      <p:sp>
        <p:nvSpPr>
          <p:cNvPr id="3" name="Forma Livre 23">
            <a:extLst>
              <a:ext uri="{FF2B5EF4-FFF2-40B4-BE49-F238E27FC236}">
                <a16:creationId xmlns:a16="http://schemas.microsoft.com/office/drawing/2014/main" id="{00C009F6-494D-2A97-487A-2B2C8E3F80D6}"/>
              </a:ext>
            </a:extLst>
          </p:cNvPr>
          <p:cNvSpPr/>
          <p:nvPr/>
        </p:nvSpPr>
        <p:spPr>
          <a:xfrm flipH="1">
            <a:off x="7814026" y="689641"/>
            <a:ext cx="4377972" cy="2530464"/>
          </a:xfrm>
          <a:custGeom>
            <a:avLst/>
            <a:gdLst>
              <a:gd name="connsiteX0" fmla="*/ 6316879 w 6316879"/>
              <a:gd name="connsiteY0" fmla="*/ 0 h 3147151"/>
              <a:gd name="connsiteX1" fmla="*/ 6194514 w 6316879"/>
              <a:gd name="connsiteY1" fmla="*/ 0 h 3147151"/>
              <a:gd name="connsiteX2" fmla="*/ 0 w 6316879"/>
              <a:gd name="connsiteY2" fmla="*/ 0 h 3147151"/>
              <a:gd name="connsiteX3" fmla="*/ 0 w 6316879"/>
              <a:gd name="connsiteY3" fmla="*/ 3147151 h 3147151"/>
              <a:gd name="connsiteX4" fmla="*/ 5628491 w 6316879"/>
              <a:gd name="connsiteY4" fmla="*/ 3142383 h 3147151"/>
              <a:gd name="connsiteX5" fmla="*/ 6316879 w 6316879"/>
              <a:gd name="connsiteY5" fmla="*/ 2554296 h 3147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16879" h="3147151">
                <a:moveTo>
                  <a:pt x="6316879" y="0"/>
                </a:moveTo>
                <a:lnTo>
                  <a:pt x="6194514" y="0"/>
                </a:lnTo>
                <a:lnTo>
                  <a:pt x="0" y="0"/>
                </a:lnTo>
                <a:lnTo>
                  <a:pt x="0" y="3147151"/>
                </a:lnTo>
                <a:lnTo>
                  <a:pt x="5628491" y="3142383"/>
                </a:lnTo>
                <a:cubicBezTo>
                  <a:pt x="5934954" y="3142383"/>
                  <a:pt x="6316879" y="2834198"/>
                  <a:pt x="6316879" y="2554296"/>
                </a:cubicBezTo>
                <a:close/>
              </a:path>
            </a:pathLst>
          </a:custGeom>
          <a:solidFill>
            <a:srgbClr val="80C3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pt-BR" sz="1302"/>
              <a:t>    </a:t>
            </a:r>
          </a:p>
        </p:txBody>
      </p:sp>
      <p:sp>
        <p:nvSpPr>
          <p:cNvPr id="4" name="Forma Livre 24">
            <a:extLst>
              <a:ext uri="{FF2B5EF4-FFF2-40B4-BE49-F238E27FC236}">
                <a16:creationId xmlns:a16="http://schemas.microsoft.com/office/drawing/2014/main" id="{E56B6223-0F23-4D87-3D46-2B2E657E6D6A}"/>
              </a:ext>
            </a:extLst>
          </p:cNvPr>
          <p:cNvSpPr/>
          <p:nvPr/>
        </p:nvSpPr>
        <p:spPr>
          <a:xfrm flipH="1">
            <a:off x="7805991" y="679568"/>
            <a:ext cx="4386008" cy="2213339"/>
          </a:xfrm>
          <a:custGeom>
            <a:avLst/>
            <a:gdLst>
              <a:gd name="connsiteX0" fmla="*/ 6316879 w 6316879"/>
              <a:gd name="connsiteY0" fmla="*/ 0 h 3147151"/>
              <a:gd name="connsiteX1" fmla="*/ 6194514 w 6316879"/>
              <a:gd name="connsiteY1" fmla="*/ 0 h 3147151"/>
              <a:gd name="connsiteX2" fmla="*/ 0 w 6316879"/>
              <a:gd name="connsiteY2" fmla="*/ 0 h 3147151"/>
              <a:gd name="connsiteX3" fmla="*/ 0 w 6316879"/>
              <a:gd name="connsiteY3" fmla="*/ 3147151 h 3147151"/>
              <a:gd name="connsiteX4" fmla="*/ 5628491 w 6316879"/>
              <a:gd name="connsiteY4" fmla="*/ 3142383 h 3147151"/>
              <a:gd name="connsiteX5" fmla="*/ 6316879 w 6316879"/>
              <a:gd name="connsiteY5" fmla="*/ 2554296 h 3147151"/>
              <a:gd name="connsiteX0" fmla="*/ 6316879 w 6316879"/>
              <a:gd name="connsiteY0" fmla="*/ 0 h 3147151"/>
              <a:gd name="connsiteX1" fmla="*/ 6194514 w 6316879"/>
              <a:gd name="connsiteY1" fmla="*/ 0 h 3147151"/>
              <a:gd name="connsiteX2" fmla="*/ 0 w 6316879"/>
              <a:gd name="connsiteY2" fmla="*/ 0 h 3147151"/>
              <a:gd name="connsiteX3" fmla="*/ 0 w 6316879"/>
              <a:gd name="connsiteY3" fmla="*/ 3147151 h 3147151"/>
              <a:gd name="connsiteX4" fmla="*/ 5628491 w 6316879"/>
              <a:gd name="connsiteY4" fmla="*/ 3142383 h 3147151"/>
              <a:gd name="connsiteX5" fmla="*/ 6306719 w 6316879"/>
              <a:gd name="connsiteY5" fmla="*/ 2527070 h 3147151"/>
              <a:gd name="connsiteX6" fmla="*/ 6316879 w 6316879"/>
              <a:gd name="connsiteY6" fmla="*/ 0 h 3147151"/>
              <a:gd name="connsiteX0" fmla="*/ 6316879 w 6316879"/>
              <a:gd name="connsiteY0" fmla="*/ 0 h 3147151"/>
              <a:gd name="connsiteX1" fmla="*/ 6194514 w 6316879"/>
              <a:gd name="connsiteY1" fmla="*/ 0 h 3147151"/>
              <a:gd name="connsiteX2" fmla="*/ 0 w 6316879"/>
              <a:gd name="connsiteY2" fmla="*/ 0 h 3147151"/>
              <a:gd name="connsiteX3" fmla="*/ 0 w 6316879"/>
              <a:gd name="connsiteY3" fmla="*/ 3147151 h 3147151"/>
              <a:gd name="connsiteX4" fmla="*/ 5628491 w 6316879"/>
              <a:gd name="connsiteY4" fmla="*/ 3142383 h 3147151"/>
              <a:gd name="connsiteX5" fmla="*/ 6306719 w 6316879"/>
              <a:gd name="connsiteY5" fmla="*/ 2453374 h 3147151"/>
              <a:gd name="connsiteX6" fmla="*/ 6316879 w 6316879"/>
              <a:gd name="connsiteY6" fmla="*/ 0 h 3147151"/>
              <a:gd name="connsiteX0" fmla="*/ 6316879 w 6316879"/>
              <a:gd name="connsiteY0" fmla="*/ 0 h 3147151"/>
              <a:gd name="connsiteX1" fmla="*/ 6194514 w 6316879"/>
              <a:gd name="connsiteY1" fmla="*/ 0 h 3147151"/>
              <a:gd name="connsiteX2" fmla="*/ 0 w 6316879"/>
              <a:gd name="connsiteY2" fmla="*/ 0 h 3147151"/>
              <a:gd name="connsiteX3" fmla="*/ 0 w 6316879"/>
              <a:gd name="connsiteY3" fmla="*/ 3147151 h 3147151"/>
              <a:gd name="connsiteX4" fmla="*/ 5628491 w 6316879"/>
              <a:gd name="connsiteY4" fmla="*/ 3142383 h 3147151"/>
              <a:gd name="connsiteX5" fmla="*/ 6306719 w 6316879"/>
              <a:gd name="connsiteY5" fmla="*/ 2453374 h 3147151"/>
              <a:gd name="connsiteX6" fmla="*/ 6316879 w 6316879"/>
              <a:gd name="connsiteY6" fmla="*/ 0 h 3147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16879" h="3147151">
                <a:moveTo>
                  <a:pt x="6316879" y="0"/>
                </a:moveTo>
                <a:lnTo>
                  <a:pt x="6194514" y="0"/>
                </a:lnTo>
                <a:lnTo>
                  <a:pt x="0" y="0"/>
                </a:lnTo>
                <a:lnTo>
                  <a:pt x="0" y="3147151"/>
                </a:lnTo>
                <a:lnTo>
                  <a:pt x="5628491" y="3142383"/>
                </a:lnTo>
                <a:cubicBezTo>
                  <a:pt x="5976205" y="3142384"/>
                  <a:pt x="6306719" y="2733276"/>
                  <a:pt x="6306719" y="2453374"/>
                </a:cubicBezTo>
                <a:cubicBezTo>
                  <a:pt x="6306719" y="1601942"/>
                  <a:pt x="6316879" y="851432"/>
                  <a:pt x="6316879" y="0"/>
                </a:cubicBezTo>
                <a:close/>
              </a:path>
            </a:pathLst>
          </a:custGeom>
          <a:solidFill>
            <a:srgbClr val="0170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pt-BR" sz="1302"/>
              <a:t>    </a:t>
            </a:r>
          </a:p>
        </p:txBody>
      </p:sp>
      <p:sp>
        <p:nvSpPr>
          <p:cNvPr id="5" name="TextBox 3">
            <a:extLst>
              <a:ext uri="{FF2B5EF4-FFF2-40B4-BE49-F238E27FC236}">
                <a16:creationId xmlns:a16="http://schemas.microsoft.com/office/drawing/2014/main" id="{E9644F98-C0F2-8EFB-91B9-D03C52C46473}"/>
              </a:ext>
            </a:extLst>
          </p:cNvPr>
          <p:cNvSpPr txBox="1"/>
          <p:nvPr/>
        </p:nvSpPr>
        <p:spPr>
          <a:xfrm>
            <a:off x="7804734" y="768188"/>
            <a:ext cx="4245752" cy="101566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pt-BR" sz="3300" b="1" dirty="0">
                <a:solidFill>
                  <a:schemeClr val="bg1"/>
                </a:solidFill>
                <a:latin typeface="Tahoma"/>
                <a:ea typeface="Tahoma"/>
                <a:cs typeface="Tahoma"/>
              </a:rPr>
              <a:t>Nome do Projeto</a:t>
            </a:r>
            <a:endParaRPr lang="pt-BR" sz="33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r"/>
            <a:endParaRPr lang="pt-BR" sz="33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A3B88074-1C3D-E3B1-4ACA-2EC62AB06CB6}"/>
              </a:ext>
            </a:extLst>
          </p:cNvPr>
          <p:cNvSpPr txBox="1"/>
          <p:nvPr/>
        </p:nvSpPr>
        <p:spPr>
          <a:xfrm>
            <a:off x="10366827" y="2880743"/>
            <a:ext cx="1825171" cy="3231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r"/>
            <a:r>
              <a:rPr lang="pt-BR" sz="1500" dirty="0">
                <a:solidFill>
                  <a:schemeClr val="bg1"/>
                </a:solidFill>
                <a:latin typeface="Tahoma"/>
                <a:ea typeface="Tahoma"/>
                <a:cs typeface="Tahoma"/>
              </a:rPr>
              <a:t>12/2023</a:t>
            </a:r>
            <a:endParaRPr lang="pt-BR" sz="1500" dirty="0"/>
          </a:p>
        </p:txBody>
      </p:sp>
      <p:sp>
        <p:nvSpPr>
          <p:cNvPr id="2" name="Forma Livre 31">
            <a:extLst>
              <a:ext uri="{FF2B5EF4-FFF2-40B4-BE49-F238E27FC236}">
                <a16:creationId xmlns:a16="http://schemas.microsoft.com/office/drawing/2014/main" id="{6670951A-6872-B3CE-A707-E3F6FAAEE0E1}"/>
              </a:ext>
            </a:extLst>
          </p:cNvPr>
          <p:cNvSpPr/>
          <p:nvPr/>
        </p:nvSpPr>
        <p:spPr>
          <a:xfrm>
            <a:off x="10079" y="446"/>
            <a:ext cx="4764929" cy="3495949"/>
          </a:xfrm>
          <a:custGeom>
            <a:avLst/>
            <a:gdLst>
              <a:gd name="connsiteX0" fmla="*/ 0 w 8272971"/>
              <a:gd name="connsiteY0" fmla="*/ 0 h 5034986"/>
              <a:gd name="connsiteX1" fmla="*/ 8272970 w 8272971"/>
              <a:gd name="connsiteY1" fmla="*/ 0 h 5034986"/>
              <a:gd name="connsiteX2" fmla="*/ 8272970 w 8272971"/>
              <a:gd name="connsiteY2" fmla="*/ 3046139 h 5034986"/>
              <a:gd name="connsiteX3" fmla="*/ 8272971 w 8272971"/>
              <a:gd name="connsiteY3" fmla="*/ 3046139 h 5034986"/>
              <a:gd name="connsiteX4" fmla="*/ 8272971 w 8272971"/>
              <a:gd name="connsiteY4" fmla="*/ 3701212 h 5034986"/>
              <a:gd name="connsiteX5" fmla="*/ 6910831 w 8272971"/>
              <a:gd name="connsiteY5" fmla="*/ 5034986 h 5034986"/>
              <a:gd name="connsiteX6" fmla="*/ 0 w 8272971"/>
              <a:gd name="connsiteY6" fmla="*/ 5034986 h 5034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72971" h="5034986">
                <a:moveTo>
                  <a:pt x="0" y="0"/>
                </a:moveTo>
                <a:lnTo>
                  <a:pt x="8272970" y="0"/>
                </a:lnTo>
                <a:lnTo>
                  <a:pt x="8272970" y="3046139"/>
                </a:lnTo>
                <a:lnTo>
                  <a:pt x="8272971" y="3046139"/>
                </a:lnTo>
                <a:lnTo>
                  <a:pt x="8272971" y="3701212"/>
                </a:lnTo>
                <a:cubicBezTo>
                  <a:pt x="8272971" y="4437835"/>
                  <a:pt x="7663120" y="5034986"/>
                  <a:pt x="6910831" y="5034986"/>
                </a:cubicBezTo>
                <a:lnTo>
                  <a:pt x="0" y="5034986"/>
                </a:lnTo>
                <a:close/>
              </a:path>
            </a:pathLst>
          </a:custGeom>
          <a:solidFill>
            <a:srgbClr val="DEE5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sz="1302"/>
          </a:p>
        </p:txBody>
      </p:sp>
      <p:sp>
        <p:nvSpPr>
          <p:cNvPr id="7" name="Forma Livre 27">
            <a:extLst>
              <a:ext uri="{FF2B5EF4-FFF2-40B4-BE49-F238E27FC236}">
                <a16:creationId xmlns:a16="http://schemas.microsoft.com/office/drawing/2014/main" id="{AE04B691-430B-B63E-EA87-9169CBD12E7D}"/>
              </a:ext>
            </a:extLst>
          </p:cNvPr>
          <p:cNvSpPr/>
          <p:nvPr/>
        </p:nvSpPr>
        <p:spPr>
          <a:xfrm flipV="1">
            <a:off x="1" y="-1"/>
            <a:ext cx="3704618" cy="5442727"/>
          </a:xfrm>
          <a:custGeom>
            <a:avLst/>
            <a:gdLst>
              <a:gd name="connsiteX0" fmla="*/ 0 w 6485883"/>
              <a:gd name="connsiteY0" fmla="*/ 7934742 h 7934742"/>
              <a:gd name="connsiteX1" fmla="*/ 6485883 w 6485883"/>
              <a:gd name="connsiteY1" fmla="*/ 7934742 h 7934742"/>
              <a:gd name="connsiteX2" fmla="*/ 6485883 w 6485883"/>
              <a:gd name="connsiteY2" fmla="*/ 1547265 h 7934742"/>
              <a:gd name="connsiteX3" fmla="*/ 4916824 w 6485883"/>
              <a:gd name="connsiteY3" fmla="*/ 0 h 7934742"/>
              <a:gd name="connsiteX4" fmla="*/ 0 w 6485883"/>
              <a:gd name="connsiteY4" fmla="*/ 0 h 7934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85883" h="7934742">
                <a:moveTo>
                  <a:pt x="0" y="7934742"/>
                </a:moveTo>
                <a:lnTo>
                  <a:pt x="6485883" y="7934742"/>
                </a:lnTo>
                <a:lnTo>
                  <a:pt x="6485883" y="1547265"/>
                </a:lnTo>
                <a:cubicBezTo>
                  <a:pt x="6485883" y="684052"/>
                  <a:pt x="5561831" y="10218"/>
                  <a:pt x="491682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80C3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sz="1302" dirty="0"/>
          </a:p>
        </p:txBody>
      </p:sp>
      <p:sp>
        <p:nvSpPr>
          <p:cNvPr id="16" name="TextBox 3">
            <a:extLst>
              <a:ext uri="{FF2B5EF4-FFF2-40B4-BE49-F238E27FC236}">
                <a16:creationId xmlns:a16="http://schemas.microsoft.com/office/drawing/2014/main" id="{556CE424-7CB5-3A63-10B3-A93D4B1D25CC}"/>
              </a:ext>
            </a:extLst>
          </p:cNvPr>
          <p:cNvSpPr txBox="1"/>
          <p:nvPr/>
        </p:nvSpPr>
        <p:spPr>
          <a:xfrm>
            <a:off x="853797" y="1510914"/>
            <a:ext cx="285082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pt-BR" sz="32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brigado!</a:t>
            </a:r>
            <a:endParaRPr lang="pt-BR" sz="3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TextBox 3">
            <a:extLst>
              <a:ext uri="{FF2B5EF4-FFF2-40B4-BE49-F238E27FC236}">
                <a16:creationId xmlns:a16="http://schemas.microsoft.com/office/drawing/2014/main" id="{90CA6E15-36B3-06E2-F2F7-65E17E0CE688}"/>
              </a:ext>
            </a:extLst>
          </p:cNvPr>
          <p:cNvSpPr txBox="1"/>
          <p:nvPr/>
        </p:nvSpPr>
        <p:spPr>
          <a:xfrm>
            <a:off x="962603" y="3504756"/>
            <a:ext cx="274201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pt-BR"/>
            </a:defPPr>
            <a:lvl1pPr marL="342900" indent="-342900">
              <a:buSzPct val="140000"/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pt-BR" dirty="0"/>
              <a:t>Contatos</a:t>
            </a:r>
          </a:p>
        </p:txBody>
      </p:sp>
      <p:pic>
        <p:nvPicPr>
          <p:cNvPr id="19" name="Gráfico 18">
            <a:extLst>
              <a:ext uri="{FF2B5EF4-FFF2-40B4-BE49-F238E27FC236}">
                <a16:creationId xmlns:a16="http://schemas.microsoft.com/office/drawing/2014/main" id="{DE15E447-3676-7FBB-AC9A-D2258867283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28067" y="2257339"/>
            <a:ext cx="630877" cy="784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3760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Imagem 25">
            <a:extLst>
              <a:ext uri="{FF2B5EF4-FFF2-40B4-BE49-F238E27FC236}">
                <a16:creationId xmlns:a16="http://schemas.microsoft.com/office/drawing/2014/main" id="{8959DDB1-68E0-F67E-7D9B-14A48D98078F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66" b="3066"/>
          <a:stretch/>
        </p:blipFill>
        <p:spPr>
          <a:xfrm>
            <a:off x="0" y="895"/>
            <a:ext cx="12192000" cy="6857105"/>
          </a:xfrm>
          <a:prstGeom prst="rect">
            <a:avLst/>
          </a:prstGeom>
        </p:spPr>
      </p:pic>
      <p:grpSp>
        <p:nvGrpSpPr>
          <p:cNvPr id="8" name="Agrupar 7">
            <a:extLst>
              <a:ext uri="{FF2B5EF4-FFF2-40B4-BE49-F238E27FC236}">
                <a16:creationId xmlns:a16="http://schemas.microsoft.com/office/drawing/2014/main" id="{CB02A419-6D58-1E66-1E3A-743533B69CCF}"/>
              </a:ext>
            </a:extLst>
          </p:cNvPr>
          <p:cNvGrpSpPr/>
          <p:nvPr/>
        </p:nvGrpSpPr>
        <p:grpSpPr>
          <a:xfrm rot="10800000" flipH="1" flipV="1">
            <a:off x="-571235" y="3159392"/>
            <a:ext cx="12763234" cy="3472227"/>
            <a:chOff x="7724873" y="4082137"/>
            <a:chExt cx="15972145" cy="4272472"/>
          </a:xfrm>
        </p:grpSpPr>
        <p:cxnSp>
          <p:nvCxnSpPr>
            <p:cNvPr id="9" name="Conector Reto 35">
              <a:extLst>
                <a:ext uri="{FF2B5EF4-FFF2-40B4-BE49-F238E27FC236}">
                  <a16:creationId xmlns:a16="http://schemas.microsoft.com/office/drawing/2014/main" id="{84B8E434-4692-ECD9-4C9C-92BB27DE8584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7724873" y="4082137"/>
              <a:ext cx="583283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Arco 9">
              <a:extLst>
                <a:ext uri="{FF2B5EF4-FFF2-40B4-BE49-F238E27FC236}">
                  <a16:creationId xmlns:a16="http://schemas.microsoft.com/office/drawing/2014/main" id="{5D3EB621-8414-378B-1C2F-D62065EA8D58}"/>
                </a:ext>
              </a:extLst>
            </p:cNvPr>
            <p:cNvSpPr/>
            <p:nvPr/>
          </p:nvSpPr>
          <p:spPr>
            <a:xfrm>
              <a:off x="12146779" y="4082137"/>
              <a:ext cx="2816932" cy="2816932"/>
            </a:xfrm>
            <a:prstGeom prst="arc">
              <a:avLst>
                <a:gd name="adj1" fmla="val 16200000"/>
                <a:gd name="adj2" fmla="val 5423995"/>
              </a:avLst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 sz="1302"/>
            </a:p>
          </p:txBody>
        </p:sp>
        <p:cxnSp>
          <p:nvCxnSpPr>
            <p:cNvPr id="11" name="Conector Reto 37">
              <a:extLst>
                <a:ext uri="{FF2B5EF4-FFF2-40B4-BE49-F238E27FC236}">
                  <a16:creationId xmlns:a16="http://schemas.microsoft.com/office/drawing/2014/main" id="{942E6B6C-CB73-421A-E707-DEC95F431987}"/>
                </a:ext>
              </a:extLst>
            </p:cNvPr>
            <p:cNvCxnSpPr>
              <a:cxnSpLocks/>
            </p:cNvCxnSpPr>
            <p:nvPr/>
          </p:nvCxnSpPr>
          <p:spPr>
            <a:xfrm>
              <a:off x="11289222" y="6899069"/>
              <a:ext cx="2263239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Arco 11">
              <a:extLst>
                <a:ext uri="{FF2B5EF4-FFF2-40B4-BE49-F238E27FC236}">
                  <a16:creationId xmlns:a16="http://schemas.microsoft.com/office/drawing/2014/main" id="{157EFFEC-7837-37BA-C531-FA06EAFDECA9}"/>
                </a:ext>
              </a:extLst>
            </p:cNvPr>
            <p:cNvSpPr/>
            <p:nvPr/>
          </p:nvSpPr>
          <p:spPr>
            <a:xfrm rot="10800000">
              <a:off x="10560027" y="6899069"/>
              <a:ext cx="1448261" cy="1448261"/>
            </a:xfrm>
            <a:prstGeom prst="arc">
              <a:avLst>
                <a:gd name="adj1" fmla="val 16200000"/>
                <a:gd name="adj2" fmla="val 5423995"/>
              </a:avLst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 sz="1302"/>
            </a:p>
          </p:txBody>
        </p:sp>
        <p:cxnSp>
          <p:nvCxnSpPr>
            <p:cNvPr id="13" name="Conector Reto 39">
              <a:extLst>
                <a:ext uri="{FF2B5EF4-FFF2-40B4-BE49-F238E27FC236}">
                  <a16:creationId xmlns:a16="http://schemas.microsoft.com/office/drawing/2014/main" id="{15C33A19-211B-DD7A-2E8C-81C8922C8B8B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11284157" y="8354609"/>
              <a:ext cx="12412861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tângulo com Único Canto Arredondado 26">
            <a:extLst>
              <a:ext uri="{FF2B5EF4-FFF2-40B4-BE49-F238E27FC236}">
                <a16:creationId xmlns:a16="http://schemas.microsoft.com/office/drawing/2014/main" id="{82E193B3-9107-382A-865C-F9367472BD36}"/>
              </a:ext>
            </a:extLst>
          </p:cNvPr>
          <p:cNvSpPr/>
          <p:nvPr/>
        </p:nvSpPr>
        <p:spPr>
          <a:xfrm flipH="1">
            <a:off x="10735395" y="5659864"/>
            <a:ext cx="1456605" cy="1198136"/>
          </a:xfrm>
          <a:prstGeom prst="round1Rect">
            <a:avLst>
              <a:gd name="adj" fmla="val 322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50"/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21554205-5AB7-5790-9432-749AC3EE15A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720" y="5919862"/>
            <a:ext cx="862542" cy="633953"/>
          </a:xfrm>
          <a:prstGeom prst="rect">
            <a:avLst/>
          </a:prstGeom>
        </p:spPr>
      </p:pic>
      <p:sp>
        <p:nvSpPr>
          <p:cNvPr id="3" name="Forma Livre 23">
            <a:extLst>
              <a:ext uri="{FF2B5EF4-FFF2-40B4-BE49-F238E27FC236}">
                <a16:creationId xmlns:a16="http://schemas.microsoft.com/office/drawing/2014/main" id="{00C009F6-494D-2A97-487A-2B2C8E3F80D6}"/>
              </a:ext>
            </a:extLst>
          </p:cNvPr>
          <p:cNvSpPr/>
          <p:nvPr/>
        </p:nvSpPr>
        <p:spPr>
          <a:xfrm flipH="1">
            <a:off x="7814026" y="689641"/>
            <a:ext cx="4377972" cy="2530464"/>
          </a:xfrm>
          <a:custGeom>
            <a:avLst/>
            <a:gdLst>
              <a:gd name="connsiteX0" fmla="*/ 6316879 w 6316879"/>
              <a:gd name="connsiteY0" fmla="*/ 0 h 3147151"/>
              <a:gd name="connsiteX1" fmla="*/ 6194514 w 6316879"/>
              <a:gd name="connsiteY1" fmla="*/ 0 h 3147151"/>
              <a:gd name="connsiteX2" fmla="*/ 0 w 6316879"/>
              <a:gd name="connsiteY2" fmla="*/ 0 h 3147151"/>
              <a:gd name="connsiteX3" fmla="*/ 0 w 6316879"/>
              <a:gd name="connsiteY3" fmla="*/ 3147151 h 3147151"/>
              <a:gd name="connsiteX4" fmla="*/ 5628491 w 6316879"/>
              <a:gd name="connsiteY4" fmla="*/ 3142383 h 3147151"/>
              <a:gd name="connsiteX5" fmla="*/ 6316879 w 6316879"/>
              <a:gd name="connsiteY5" fmla="*/ 2554296 h 3147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16879" h="3147151">
                <a:moveTo>
                  <a:pt x="6316879" y="0"/>
                </a:moveTo>
                <a:lnTo>
                  <a:pt x="6194514" y="0"/>
                </a:lnTo>
                <a:lnTo>
                  <a:pt x="0" y="0"/>
                </a:lnTo>
                <a:lnTo>
                  <a:pt x="0" y="3147151"/>
                </a:lnTo>
                <a:lnTo>
                  <a:pt x="5628491" y="3142383"/>
                </a:lnTo>
                <a:cubicBezTo>
                  <a:pt x="5934954" y="3142383"/>
                  <a:pt x="6316879" y="2834198"/>
                  <a:pt x="6316879" y="2554296"/>
                </a:cubicBezTo>
                <a:close/>
              </a:path>
            </a:pathLst>
          </a:custGeom>
          <a:solidFill>
            <a:srgbClr val="80C3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pt-BR" sz="1302"/>
              <a:t>    </a:t>
            </a:r>
          </a:p>
        </p:txBody>
      </p:sp>
      <p:sp>
        <p:nvSpPr>
          <p:cNvPr id="4" name="Forma Livre 24">
            <a:extLst>
              <a:ext uri="{FF2B5EF4-FFF2-40B4-BE49-F238E27FC236}">
                <a16:creationId xmlns:a16="http://schemas.microsoft.com/office/drawing/2014/main" id="{E56B6223-0F23-4D87-3D46-2B2E657E6D6A}"/>
              </a:ext>
            </a:extLst>
          </p:cNvPr>
          <p:cNvSpPr/>
          <p:nvPr/>
        </p:nvSpPr>
        <p:spPr>
          <a:xfrm flipH="1">
            <a:off x="7805991" y="679568"/>
            <a:ext cx="4386008" cy="2213339"/>
          </a:xfrm>
          <a:custGeom>
            <a:avLst/>
            <a:gdLst>
              <a:gd name="connsiteX0" fmla="*/ 6316879 w 6316879"/>
              <a:gd name="connsiteY0" fmla="*/ 0 h 3147151"/>
              <a:gd name="connsiteX1" fmla="*/ 6194514 w 6316879"/>
              <a:gd name="connsiteY1" fmla="*/ 0 h 3147151"/>
              <a:gd name="connsiteX2" fmla="*/ 0 w 6316879"/>
              <a:gd name="connsiteY2" fmla="*/ 0 h 3147151"/>
              <a:gd name="connsiteX3" fmla="*/ 0 w 6316879"/>
              <a:gd name="connsiteY3" fmla="*/ 3147151 h 3147151"/>
              <a:gd name="connsiteX4" fmla="*/ 5628491 w 6316879"/>
              <a:gd name="connsiteY4" fmla="*/ 3142383 h 3147151"/>
              <a:gd name="connsiteX5" fmla="*/ 6316879 w 6316879"/>
              <a:gd name="connsiteY5" fmla="*/ 2554296 h 3147151"/>
              <a:gd name="connsiteX0" fmla="*/ 6316879 w 6316879"/>
              <a:gd name="connsiteY0" fmla="*/ 0 h 3147151"/>
              <a:gd name="connsiteX1" fmla="*/ 6194514 w 6316879"/>
              <a:gd name="connsiteY1" fmla="*/ 0 h 3147151"/>
              <a:gd name="connsiteX2" fmla="*/ 0 w 6316879"/>
              <a:gd name="connsiteY2" fmla="*/ 0 h 3147151"/>
              <a:gd name="connsiteX3" fmla="*/ 0 w 6316879"/>
              <a:gd name="connsiteY3" fmla="*/ 3147151 h 3147151"/>
              <a:gd name="connsiteX4" fmla="*/ 5628491 w 6316879"/>
              <a:gd name="connsiteY4" fmla="*/ 3142383 h 3147151"/>
              <a:gd name="connsiteX5" fmla="*/ 6306719 w 6316879"/>
              <a:gd name="connsiteY5" fmla="*/ 2527070 h 3147151"/>
              <a:gd name="connsiteX6" fmla="*/ 6316879 w 6316879"/>
              <a:gd name="connsiteY6" fmla="*/ 0 h 3147151"/>
              <a:gd name="connsiteX0" fmla="*/ 6316879 w 6316879"/>
              <a:gd name="connsiteY0" fmla="*/ 0 h 3147151"/>
              <a:gd name="connsiteX1" fmla="*/ 6194514 w 6316879"/>
              <a:gd name="connsiteY1" fmla="*/ 0 h 3147151"/>
              <a:gd name="connsiteX2" fmla="*/ 0 w 6316879"/>
              <a:gd name="connsiteY2" fmla="*/ 0 h 3147151"/>
              <a:gd name="connsiteX3" fmla="*/ 0 w 6316879"/>
              <a:gd name="connsiteY3" fmla="*/ 3147151 h 3147151"/>
              <a:gd name="connsiteX4" fmla="*/ 5628491 w 6316879"/>
              <a:gd name="connsiteY4" fmla="*/ 3142383 h 3147151"/>
              <a:gd name="connsiteX5" fmla="*/ 6306719 w 6316879"/>
              <a:gd name="connsiteY5" fmla="*/ 2453374 h 3147151"/>
              <a:gd name="connsiteX6" fmla="*/ 6316879 w 6316879"/>
              <a:gd name="connsiteY6" fmla="*/ 0 h 3147151"/>
              <a:gd name="connsiteX0" fmla="*/ 6316879 w 6316879"/>
              <a:gd name="connsiteY0" fmla="*/ 0 h 3147151"/>
              <a:gd name="connsiteX1" fmla="*/ 6194514 w 6316879"/>
              <a:gd name="connsiteY1" fmla="*/ 0 h 3147151"/>
              <a:gd name="connsiteX2" fmla="*/ 0 w 6316879"/>
              <a:gd name="connsiteY2" fmla="*/ 0 h 3147151"/>
              <a:gd name="connsiteX3" fmla="*/ 0 w 6316879"/>
              <a:gd name="connsiteY3" fmla="*/ 3147151 h 3147151"/>
              <a:gd name="connsiteX4" fmla="*/ 5628491 w 6316879"/>
              <a:gd name="connsiteY4" fmla="*/ 3142383 h 3147151"/>
              <a:gd name="connsiteX5" fmla="*/ 6306719 w 6316879"/>
              <a:gd name="connsiteY5" fmla="*/ 2453374 h 3147151"/>
              <a:gd name="connsiteX6" fmla="*/ 6316879 w 6316879"/>
              <a:gd name="connsiteY6" fmla="*/ 0 h 3147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16879" h="3147151">
                <a:moveTo>
                  <a:pt x="6316879" y="0"/>
                </a:moveTo>
                <a:lnTo>
                  <a:pt x="6194514" y="0"/>
                </a:lnTo>
                <a:lnTo>
                  <a:pt x="0" y="0"/>
                </a:lnTo>
                <a:lnTo>
                  <a:pt x="0" y="3147151"/>
                </a:lnTo>
                <a:lnTo>
                  <a:pt x="5628491" y="3142383"/>
                </a:lnTo>
                <a:cubicBezTo>
                  <a:pt x="5976205" y="3142384"/>
                  <a:pt x="6306719" y="2733276"/>
                  <a:pt x="6306719" y="2453374"/>
                </a:cubicBezTo>
                <a:cubicBezTo>
                  <a:pt x="6306719" y="1601942"/>
                  <a:pt x="6316879" y="851432"/>
                  <a:pt x="6316879" y="0"/>
                </a:cubicBezTo>
                <a:close/>
              </a:path>
            </a:pathLst>
          </a:custGeom>
          <a:solidFill>
            <a:srgbClr val="0170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pt-BR" sz="1302"/>
              <a:t>    </a:t>
            </a:r>
          </a:p>
        </p:txBody>
      </p:sp>
      <p:sp>
        <p:nvSpPr>
          <p:cNvPr id="5" name="TextBox 3">
            <a:extLst>
              <a:ext uri="{FF2B5EF4-FFF2-40B4-BE49-F238E27FC236}">
                <a16:creationId xmlns:a16="http://schemas.microsoft.com/office/drawing/2014/main" id="{E9644F98-C0F2-8EFB-91B9-D03C52C46473}"/>
              </a:ext>
            </a:extLst>
          </p:cNvPr>
          <p:cNvSpPr txBox="1"/>
          <p:nvPr/>
        </p:nvSpPr>
        <p:spPr>
          <a:xfrm>
            <a:off x="7804734" y="768188"/>
            <a:ext cx="4245752" cy="5078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pt-BR" sz="3300" b="1" dirty="0">
                <a:solidFill>
                  <a:schemeClr val="bg1"/>
                </a:solidFill>
                <a:latin typeface="Tahoma"/>
                <a:ea typeface="Tahoma"/>
                <a:cs typeface="Tahoma"/>
              </a:rPr>
              <a:t>Nome do Projeto</a:t>
            </a:r>
            <a:endParaRPr lang="pt-BR" sz="33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A3B88074-1C3D-E3B1-4ACA-2EC62AB06CB6}"/>
              </a:ext>
            </a:extLst>
          </p:cNvPr>
          <p:cNvSpPr txBox="1"/>
          <p:nvPr/>
        </p:nvSpPr>
        <p:spPr>
          <a:xfrm>
            <a:off x="10366827" y="2880743"/>
            <a:ext cx="1825171" cy="3231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r"/>
            <a:r>
              <a:rPr lang="pt-BR" sz="1500" dirty="0">
                <a:solidFill>
                  <a:schemeClr val="bg1"/>
                </a:solidFill>
                <a:latin typeface="Tahoma"/>
                <a:ea typeface="Tahoma"/>
                <a:cs typeface="Tahoma"/>
              </a:rPr>
              <a:t>12/2023</a:t>
            </a:r>
            <a:endParaRPr lang="pt-BR" sz="1500" dirty="0"/>
          </a:p>
        </p:txBody>
      </p:sp>
    </p:spTree>
    <p:extLst>
      <p:ext uri="{BB962C8B-B14F-4D97-AF65-F5344CB8AC3E}">
        <p14:creationId xmlns:p14="http://schemas.microsoft.com/office/powerpoint/2010/main" val="6135467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906F7BD5-F62E-E8E4-00FF-95EDB8280B48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0170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02"/>
          </a:p>
        </p:txBody>
      </p:sp>
      <p:sp>
        <p:nvSpPr>
          <p:cNvPr id="3" name="Forma Livre 23">
            <a:extLst>
              <a:ext uri="{FF2B5EF4-FFF2-40B4-BE49-F238E27FC236}">
                <a16:creationId xmlns:a16="http://schemas.microsoft.com/office/drawing/2014/main" id="{C0562C2A-9316-24C2-8531-CA6A023C0069}"/>
              </a:ext>
            </a:extLst>
          </p:cNvPr>
          <p:cNvSpPr/>
          <p:nvPr/>
        </p:nvSpPr>
        <p:spPr>
          <a:xfrm rot="10800000">
            <a:off x="621904" y="0"/>
            <a:ext cx="11570095" cy="6278594"/>
          </a:xfrm>
          <a:custGeom>
            <a:avLst/>
            <a:gdLst>
              <a:gd name="connsiteX0" fmla="*/ 16635199 w 16635199"/>
              <a:gd name="connsiteY0" fmla="*/ 9014942 h 9014942"/>
              <a:gd name="connsiteX1" fmla="*/ 2 w 16635199"/>
              <a:gd name="connsiteY1" fmla="*/ 9014942 h 9014942"/>
              <a:gd name="connsiteX2" fmla="*/ 2 w 16635199"/>
              <a:gd name="connsiteY2" fmla="*/ 7678736 h 9014942"/>
              <a:gd name="connsiteX3" fmla="*/ 0 w 16635199"/>
              <a:gd name="connsiteY3" fmla="*/ 7678736 h 9014942"/>
              <a:gd name="connsiteX4" fmla="*/ 0 w 16635199"/>
              <a:gd name="connsiteY4" fmla="*/ 0 h 9014942"/>
              <a:gd name="connsiteX5" fmla="*/ 924138 w 16635199"/>
              <a:gd name="connsiteY5" fmla="*/ 0 h 9014942"/>
              <a:gd name="connsiteX6" fmla="*/ 924138 w 16635199"/>
              <a:gd name="connsiteY6" fmla="*/ 1 h 9014942"/>
              <a:gd name="connsiteX7" fmla="*/ 15729923 w 16635199"/>
              <a:gd name="connsiteY7" fmla="*/ 1 h 9014942"/>
              <a:gd name="connsiteX8" fmla="*/ 16622922 w 16635199"/>
              <a:gd name="connsiteY8" fmla="*/ 893001 h 9014942"/>
              <a:gd name="connsiteX9" fmla="*/ 16622922 w 16635199"/>
              <a:gd name="connsiteY9" fmla="*/ 5024203 h 9014942"/>
              <a:gd name="connsiteX10" fmla="*/ 16635197 w 16635199"/>
              <a:gd name="connsiteY10" fmla="*/ 5024203 h 9014942"/>
              <a:gd name="connsiteX11" fmla="*/ 16635197 w 16635199"/>
              <a:gd name="connsiteY11" fmla="*/ 7675566 h 9014942"/>
              <a:gd name="connsiteX12" fmla="*/ 16635199 w 16635199"/>
              <a:gd name="connsiteY12" fmla="*/ 7675566 h 9014942"/>
              <a:gd name="connsiteX0" fmla="*/ 16635199 w 16635199"/>
              <a:gd name="connsiteY0" fmla="*/ 9014942 h 9014942"/>
              <a:gd name="connsiteX1" fmla="*/ 2 w 16635199"/>
              <a:gd name="connsiteY1" fmla="*/ 9014942 h 9014942"/>
              <a:gd name="connsiteX2" fmla="*/ 2 w 16635199"/>
              <a:gd name="connsiteY2" fmla="*/ 7678736 h 9014942"/>
              <a:gd name="connsiteX3" fmla="*/ 0 w 16635199"/>
              <a:gd name="connsiteY3" fmla="*/ 7678736 h 9014942"/>
              <a:gd name="connsiteX4" fmla="*/ 0 w 16635199"/>
              <a:gd name="connsiteY4" fmla="*/ 0 h 9014942"/>
              <a:gd name="connsiteX5" fmla="*/ 924138 w 16635199"/>
              <a:gd name="connsiteY5" fmla="*/ 0 h 9014942"/>
              <a:gd name="connsiteX6" fmla="*/ 924138 w 16635199"/>
              <a:gd name="connsiteY6" fmla="*/ 1 h 9014942"/>
              <a:gd name="connsiteX7" fmla="*/ 15729923 w 16635199"/>
              <a:gd name="connsiteY7" fmla="*/ 1 h 9014942"/>
              <a:gd name="connsiteX8" fmla="*/ 16630417 w 16635199"/>
              <a:gd name="connsiteY8" fmla="*/ 1147834 h 9014942"/>
              <a:gd name="connsiteX9" fmla="*/ 16622922 w 16635199"/>
              <a:gd name="connsiteY9" fmla="*/ 5024203 h 9014942"/>
              <a:gd name="connsiteX10" fmla="*/ 16635197 w 16635199"/>
              <a:gd name="connsiteY10" fmla="*/ 5024203 h 9014942"/>
              <a:gd name="connsiteX11" fmla="*/ 16635197 w 16635199"/>
              <a:gd name="connsiteY11" fmla="*/ 7675566 h 9014942"/>
              <a:gd name="connsiteX12" fmla="*/ 16635199 w 16635199"/>
              <a:gd name="connsiteY12" fmla="*/ 7675566 h 9014942"/>
              <a:gd name="connsiteX13" fmla="*/ 16635199 w 16635199"/>
              <a:gd name="connsiteY13" fmla="*/ 9014942 h 9014942"/>
              <a:gd name="connsiteX0" fmla="*/ 16635199 w 16635199"/>
              <a:gd name="connsiteY0" fmla="*/ 9029931 h 9029931"/>
              <a:gd name="connsiteX1" fmla="*/ 2 w 16635199"/>
              <a:gd name="connsiteY1" fmla="*/ 9029931 h 9029931"/>
              <a:gd name="connsiteX2" fmla="*/ 2 w 16635199"/>
              <a:gd name="connsiteY2" fmla="*/ 7693725 h 9029931"/>
              <a:gd name="connsiteX3" fmla="*/ 0 w 16635199"/>
              <a:gd name="connsiteY3" fmla="*/ 7693725 h 9029931"/>
              <a:gd name="connsiteX4" fmla="*/ 0 w 16635199"/>
              <a:gd name="connsiteY4" fmla="*/ 14989 h 9029931"/>
              <a:gd name="connsiteX5" fmla="*/ 924138 w 16635199"/>
              <a:gd name="connsiteY5" fmla="*/ 14989 h 9029931"/>
              <a:gd name="connsiteX6" fmla="*/ 924138 w 16635199"/>
              <a:gd name="connsiteY6" fmla="*/ 14990 h 9029931"/>
              <a:gd name="connsiteX7" fmla="*/ 15617497 w 16635199"/>
              <a:gd name="connsiteY7" fmla="*/ 0 h 9029931"/>
              <a:gd name="connsiteX8" fmla="*/ 16630417 w 16635199"/>
              <a:gd name="connsiteY8" fmla="*/ 1162823 h 9029931"/>
              <a:gd name="connsiteX9" fmla="*/ 16622922 w 16635199"/>
              <a:gd name="connsiteY9" fmla="*/ 5039192 h 9029931"/>
              <a:gd name="connsiteX10" fmla="*/ 16635197 w 16635199"/>
              <a:gd name="connsiteY10" fmla="*/ 5039192 h 9029931"/>
              <a:gd name="connsiteX11" fmla="*/ 16635197 w 16635199"/>
              <a:gd name="connsiteY11" fmla="*/ 7690555 h 9029931"/>
              <a:gd name="connsiteX12" fmla="*/ 16635199 w 16635199"/>
              <a:gd name="connsiteY12" fmla="*/ 7690555 h 9029931"/>
              <a:gd name="connsiteX13" fmla="*/ 16635199 w 16635199"/>
              <a:gd name="connsiteY13" fmla="*/ 9029931 h 9029931"/>
              <a:gd name="connsiteX0" fmla="*/ 16635199 w 16635199"/>
              <a:gd name="connsiteY0" fmla="*/ 9029992 h 9029992"/>
              <a:gd name="connsiteX1" fmla="*/ 2 w 16635199"/>
              <a:gd name="connsiteY1" fmla="*/ 9029992 h 9029992"/>
              <a:gd name="connsiteX2" fmla="*/ 2 w 16635199"/>
              <a:gd name="connsiteY2" fmla="*/ 7693786 h 9029992"/>
              <a:gd name="connsiteX3" fmla="*/ 0 w 16635199"/>
              <a:gd name="connsiteY3" fmla="*/ 7693786 h 9029992"/>
              <a:gd name="connsiteX4" fmla="*/ 0 w 16635199"/>
              <a:gd name="connsiteY4" fmla="*/ 15050 h 9029992"/>
              <a:gd name="connsiteX5" fmla="*/ 924138 w 16635199"/>
              <a:gd name="connsiteY5" fmla="*/ 15050 h 9029992"/>
              <a:gd name="connsiteX6" fmla="*/ 924138 w 16635199"/>
              <a:gd name="connsiteY6" fmla="*/ 15051 h 9029992"/>
              <a:gd name="connsiteX7" fmla="*/ 15617497 w 16635199"/>
              <a:gd name="connsiteY7" fmla="*/ 61 h 9029992"/>
              <a:gd name="connsiteX8" fmla="*/ 16630417 w 16635199"/>
              <a:gd name="connsiteY8" fmla="*/ 1162884 h 9029992"/>
              <a:gd name="connsiteX9" fmla="*/ 16622922 w 16635199"/>
              <a:gd name="connsiteY9" fmla="*/ 5039253 h 9029992"/>
              <a:gd name="connsiteX10" fmla="*/ 16635197 w 16635199"/>
              <a:gd name="connsiteY10" fmla="*/ 5039253 h 9029992"/>
              <a:gd name="connsiteX11" fmla="*/ 16635197 w 16635199"/>
              <a:gd name="connsiteY11" fmla="*/ 7690616 h 9029992"/>
              <a:gd name="connsiteX12" fmla="*/ 16635199 w 16635199"/>
              <a:gd name="connsiteY12" fmla="*/ 7690616 h 9029992"/>
              <a:gd name="connsiteX13" fmla="*/ 16635199 w 16635199"/>
              <a:gd name="connsiteY13" fmla="*/ 9029992 h 9029992"/>
              <a:gd name="connsiteX0" fmla="*/ 16635199 w 16635199"/>
              <a:gd name="connsiteY0" fmla="*/ 9037488 h 9037488"/>
              <a:gd name="connsiteX1" fmla="*/ 2 w 16635199"/>
              <a:gd name="connsiteY1" fmla="*/ 9037488 h 9037488"/>
              <a:gd name="connsiteX2" fmla="*/ 2 w 16635199"/>
              <a:gd name="connsiteY2" fmla="*/ 7701282 h 9037488"/>
              <a:gd name="connsiteX3" fmla="*/ 0 w 16635199"/>
              <a:gd name="connsiteY3" fmla="*/ 7701282 h 9037488"/>
              <a:gd name="connsiteX4" fmla="*/ 0 w 16635199"/>
              <a:gd name="connsiteY4" fmla="*/ 22546 h 9037488"/>
              <a:gd name="connsiteX5" fmla="*/ 924138 w 16635199"/>
              <a:gd name="connsiteY5" fmla="*/ 22546 h 9037488"/>
              <a:gd name="connsiteX6" fmla="*/ 924138 w 16635199"/>
              <a:gd name="connsiteY6" fmla="*/ 22547 h 9037488"/>
              <a:gd name="connsiteX7" fmla="*/ 15527556 w 16635199"/>
              <a:gd name="connsiteY7" fmla="*/ 61 h 9037488"/>
              <a:gd name="connsiteX8" fmla="*/ 16630417 w 16635199"/>
              <a:gd name="connsiteY8" fmla="*/ 1170380 h 9037488"/>
              <a:gd name="connsiteX9" fmla="*/ 16622922 w 16635199"/>
              <a:gd name="connsiteY9" fmla="*/ 5046749 h 9037488"/>
              <a:gd name="connsiteX10" fmla="*/ 16635197 w 16635199"/>
              <a:gd name="connsiteY10" fmla="*/ 5046749 h 9037488"/>
              <a:gd name="connsiteX11" fmla="*/ 16635197 w 16635199"/>
              <a:gd name="connsiteY11" fmla="*/ 7698112 h 9037488"/>
              <a:gd name="connsiteX12" fmla="*/ 16635199 w 16635199"/>
              <a:gd name="connsiteY12" fmla="*/ 7698112 h 9037488"/>
              <a:gd name="connsiteX13" fmla="*/ 16635199 w 16635199"/>
              <a:gd name="connsiteY13" fmla="*/ 9037488 h 9037488"/>
              <a:gd name="connsiteX0" fmla="*/ 16635199 w 16635199"/>
              <a:gd name="connsiteY0" fmla="*/ 9037666 h 9037666"/>
              <a:gd name="connsiteX1" fmla="*/ 2 w 16635199"/>
              <a:gd name="connsiteY1" fmla="*/ 9037666 h 9037666"/>
              <a:gd name="connsiteX2" fmla="*/ 2 w 16635199"/>
              <a:gd name="connsiteY2" fmla="*/ 7701460 h 9037666"/>
              <a:gd name="connsiteX3" fmla="*/ 0 w 16635199"/>
              <a:gd name="connsiteY3" fmla="*/ 7701460 h 9037666"/>
              <a:gd name="connsiteX4" fmla="*/ 0 w 16635199"/>
              <a:gd name="connsiteY4" fmla="*/ 22724 h 9037666"/>
              <a:gd name="connsiteX5" fmla="*/ 924138 w 16635199"/>
              <a:gd name="connsiteY5" fmla="*/ 22724 h 9037666"/>
              <a:gd name="connsiteX6" fmla="*/ 924138 w 16635199"/>
              <a:gd name="connsiteY6" fmla="*/ 22725 h 9037666"/>
              <a:gd name="connsiteX7" fmla="*/ 15527556 w 16635199"/>
              <a:gd name="connsiteY7" fmla="*/ 239 h 9037666"/>
              <a:gd name="connsiteX8" fmla="*/ 16630417 w 16635199"/>
              <a:gd name="connsiteY8" fmla="*/ 1170558 h 9037666"/>
              <a:gd name="connsiteX9" fmla="*/ 16622922 w 16635199"/>
              <a:gd name="connsiteY9" fmla="*/ 5046927 h 9037666"/>
              <a:gd name="connsiteX10" fmla="*/ 16635197 w 16635199"/>
              <a:gd name="connsiteY10" fmla="*/ 5046927 h 9037666"/>
              <a:gd name="connsiteX11" fmla="*/ 16635197 w 16635199"/>
              <a:gd name="connsiteY11" fmla="*/ 7698290 h 9037666"/>
              <a:gd name="connsiteX12" fmla="*/ 16635199 w 16635199"/>
              <a:gd name="connsiteY12" fmla="*/ 7698290 h 9037666"/>
              <a:gd name="connsiteX13" fmla="*/ 16635199 w 16635199"/>
              <a:gd name="connsiteY13" fmla="*/ 9037666 h 9037666"/>
              <a:gd name="connsiteX0" fmla="*/ 16635199 w 16635199"/>
              <a:gd name="connsiteY0" fmla="*/ 9037726 h 9037726"/>
              <a:gd name="connsiteX1" fmla="*/ 2 w 16635199"/>
              <a:gd name="connsiteY1" fmla="*/ 9037726 h 9037726"/>
              <a:gd name="connsiteX2" fmla="*/ 2 w 16635199"/>
              <a:gd name="connsiteY2" fmla="*/ 7701520 h 9037726"/>
              <a:gd name="connsiteX3" fmla="*/ 0 w 16635199"/>
              <a:gd name="connsiteY3" fmla="*/ 7701520 h 9037726"/>
              <a:gd name="connsiteX4" fmla="*/ 0 w 16635199"/>
              <a:gd name="connsiteY4" fmla="*/ 22784 h 9037726"/>
              <a:gd name="connsiteX5" fmla="*/ 924138 w 16635199"/>
              <a:gd name="connsiteY5" fmla="*/ 22784 h 9037726"/>
              <a:gd name="connsiteX6" fmla="*/ 924138 w 16635199"/>
              <a:gd name="connsiteY6" fmla="*/ 22785 h 9037726"/>
              <a:gd name="connsiteX7" fmla="*/ 15527556 w 16635199"/>
              <a:gd name="connsiteY7" fmla="*/ 299 h 9037726"/>
              <a:gd name="connsiteX8" fmla="*/ 16630417 w 16635199"/>
              <a:gd name="connsiteY8" fmla="*/ 1170618 h 9037726"/>
              <a:gd name="connsiteX9" fmla="*/ 16622922 w 16635199"/>
              <a:gd name="connsiteY9" fmla="*/ 5046987 h 9037726"/>
              <a:gd name="connsiteX10" fmla="*/ 16635197 w 16635199"/>
              <a:gd name="connsiteY10" fmla="*/ 5046987 h 9037726"/>
              <a:gd name="connsiteX11" fmla="*/ 16635197 w 16635199"/>
              <a:gd name="connsiteY11" fmla="*/ 7698350 h 9037726"/>
              <a:gd name="connsiteX12" fmla="*/ 16635199 w 16635199"/>
              <a:gd name="connsiteY12" fmla="*/ 7698350 h 9037726"/>
              <a:gd name="connsiteX13" fmla="*/ 16635199 w 16635199"/>
              <a:gd name="connsiteY13" fmla="*/ 9037726 h 9037726"/>
              <a:gd name="connsiteX0" fmla="*/ 16635199 w 16635199"/>
              <a:gd name="connsiteY0" fmla="*/ 9037726 h 9037726"/>
              <a:gd name="connsiteX1" fmla="*/ 2 w 16635199"/>
              <a:gd name="connsiteY1" fmla="*/ 9037726 h 9037726"/>
              <a:gd name="connsiteX2" fmla="*/ 2 w 16635199"/>
              <a:gd name="connsiteY2" fmla="*/ 7701520 h 9037726"/>
              <a:gd name="connsiteX3" fmla="*/ 0 w 16635199"/>
              <a:gd name="connsiteY3" fmla="*/ 7701520 h 9037726"/>
              <a:gd name="connsiteX4" fmla="*/ 0 w 16635199"/>
              <a:gd name="connsiteY4" fmla="*/ 22784 h 9037726"/>
              <a:gd name="connsiteX5" fmla="*/ 924138 w 16635199"/>
              <a:gd name="connsiteY5" fmla="*/ 22784 h 9037726"/>
              <a:gd name="connsiteX6" fmla="*/ 924138 w 16635199"/>
              <a:gd name="connsiteY6" fmla="*/ 22785 h 9037726"/>
              <a:gd name="connsiteX7" fmla="*/ 15527556 w 16635199"/>
              <a:gd name="connsiteY7" fmla="*/ 299 h 9037726"/>
              <a:gd name="connsiteX8" fmla="*/ 16630417 w 16635199"/>
              <a:gd name="connsiteY8" fmla="*/ 1170618 h 9037726"/>
              <a:gd name="connsiteX9" fmla="*/ 16622922 w 16635199"/>
              <a:gd name="connsiteY9" fmla="*/ 5046987 h 9037726"/>
              <a:gd name="connsiteX10" fmla="*/ 16635197 w 16635199"/>
              <a:gd name="connsiteY10" fmla="*/ 5046987 h 9037726"/>
              <a:gd name="connsiteX11" fmla="*/ 16635197 w 16635199"/>
              <a:gd name="connsiteY11" fmla="*/ 7698350 h 9037726"/>
              <a:gd name="connsiteX12" fmla="*/ 16635199 w 16635199"/>
              <a:gd name="connsiteY12" fmla="*/ 7698350 h 9037726"/>
              <a:gd name="connsiteX13" fmla="*/ 16635199 w 16635199"/>
              <a:gd name="connsiteY13" fmla="*/ 9037726 h 9037726"/>
              <a:gd name="connsiteX0" fmla="*/ 16635199 w 16635199"/>
              <a:gd name="connsiteY0" fmla="*/ 9051166 h 9051166"/>
              <a:gd name="connsiteX1" fmla="*/ 2 w 16635199"/>
              <a:gd name="connsiteY1" fmla="*/ 9051166 h 9051166"/>
              <a:gd name="connsiteX2" fmla="*/ 2 w 16635199"/>
              <a:gd name="connsiteY2" fmla="*/ 7714960 h 9051166"/>
              <a:gd name="connsiteX3" fmla="*/ 0 w 16635199"/>
              <a:gd name="connsiteY3" fmla="*/ 7714960 h 9051166"/>
              <a:gd name="connsiteX4" fmla="*/ 0 w 16635199"/>
              <a:gd name="connsiteY4" fmla="*/ 36224 h 9051166"/>
              <a:gd name="connsiteX5" fmla="*/ 924138 w 16635199"/>
              <a:gd name="connsiteY5" fmla="*/ 36224 h 9051166"/>
              <a:gd name="connsiteX6" fmla="*/ 924138 w 16635199"/>
              <a:gd name="connsiteY6" fmla="*/ 36225 h 9051166"/>
              <a:gd name="connsiteX7" fmla="*/ 15245168 w 16635199"/>
              <a:gd name="connsiteY7" fmla="*/ 292 h 9051166"/>
              <a:gd name="connsiteX8" fmla="*/ 16630417 w 16635199"/>
              <a:gd name="connsiteY8" fmla="*/ 1184058 h 9051166"/>
              <a:gd name="connsiteX9" fmla="*/ 16622922 w 16635199"/>
              <a:gd name="connsiteY9" fmla="*/ 5060427 h 9051166"/>
              <a:gd name="connsiteX10" fmla="*/ 16635197 w 16635199"/>
              <a:gd name="connsiteY10" fmla="*/ 5060427 h 9051166"/>
              <a:gd name="connsiteX11" fmla="*/ 16635197 w 16635199"/>
              <a:gd name="connsiteY11" fmla="*/ 7711790 h 9051166"/>
              <a:gd name="connsiteX12" fmla="*/ 16635199 w 16635199"/>
              <a:gd name="connsiteY12" fmla="*/ 7711790 h 9051166"/>
              <a:gd name="connsiteX13" fmla="*/ 16635199 w 16635199"/>
              <a:gd name="connsiteY13" fmla="*/ 9051166 h 9051166"/>
              <a:gd name="connsiteX0" fmla="*/ 16635199 w 16635199"/>
              <a:gd name="connsiteY0" fmla="*/ 9051116 h 9051116"/>
              <a:gd name="connsiteX1" fmla="*/ 2 w 16635199"/>
              <a:gd name="connsiteY1" fmla="*/ 9051116 h 9051116"/>
              <a:gd name="connsiteX2" fmla="*/ 2 w 16635199"/>
              <a:gd name="connsiteY2" fmla="*/ 7714910 h 9051116"/>
              <a:gd name="connsiteX3" fmla="*/ 0 w 16635199"/>
              <a:gd name="connsiteY3" fmla="*/ 7714910 h 9051116"/>
              <a:gd name="connsiteX4" fmla="*/ 0 w 16635199"/>
              <a:gd name="connsiteY4" fmla="*/ 36174 h 9051116"/>
              <a:gd name="connsiteX5" fmla="*/ 924138 w 16635199"/>
              <a:gd name="connsiteY5" fmla="*/ 36174 h 9051116"/>
              <a:gd name="connsiteX6" fmla="*/ 924138 w 16635199"/>
              <a:gd name="connsiteY6" fmla="*/ 36175 h 9051116"/>
              <a:gd name="connsiteX7" fmla="*/ 15245168 w 16635199"/>
              <a:gd name="connsiteY7" fmla="*/ 242 h 9051116"/>
              <a:gd name="connsiteX8" fmla="*/ 16616970 w 16635199"/>
              <a:gd name="connsiteY8" fmla="*/ 1305031 h 9051116"/>
              <a:gd name="connsiteX9" fmla="*/ 16622922 w 16635199"/>
              <a:gd name="connsiteY9" fmla="*/ 5060377 h 9051116"/>
              <a:gd name="connsiteX10" fmla="*/ 16635197 w 16635199"/>
              <a:gd name="connsiteY10" fmla="*/ 5060377 h 9051116"/>
              <a:gd name="connsiteX11" fmla="*/ 16635197 w 16635199"/>
              <a:gd name="connsiteY11" fmla="*/ 7711740 h 9051116"/>
              <a:gd name="connsiteX12" fmla="*/ 16635199 w 16635199"/>
              <a:gd name="connsiteY12" fmla="*/ 7711740 h 9051116"/>
              <a:gd name="connsiteX13" fmla="*/ 16635199 w 16635199"/>
              <a:gd name="connsiteY13" fmla="*/ 9051116 h 9051116"/>
              <a:gd name="connsiteX0" fmla="*/ 16635199 w 16635199"/>
              <a:gd name="connsiteY0" fmla="*/ 9051869 h 9051869"/>
              <a:gd name="connsiteX1" fmla="*/ 2 w 16635199"/>
              <a:gd name="connsiteY1" fmla="*/ 9051869 h 9051869"/>
              <a:gd name="connsiteX2" fmla="*/ 2 w 16635199"/>
              <a:gd name="connsiteY2" fmla="*/ 7715663 h 9051869"/>
              <a:gd name="connsiteX3" fmla="*/ 0 w 16635199"/>
              <a:gd name="connsiteY3" fmla="*/ 7715663 h 9051869"/>
              <a:gd name="connsiteX4" fmla="*/ 0 w 16635199"/>
              <a:gd name="connsiteY4" fmla="*/ 36927 h 9051869"/>
              <a:gd name="connsiteX5" fmla="*/ 924138 w 16635199"/>
              <a:gd name="connsiteY5" fmla="*/ 36927 h 9051869"/>
              <a:gd name="connsiteX6" fmla="*/ 924138 w 16635199"/>
              <a:gd name="connsiteY6" fmla="*/ 36928 h 9051869"/>
              <a:gd name="connsiteX7" fmla="*/ 15245168 w 16635199"/>
              <a:gd name="connsiteY7" fmla="*/ 995 h 9051869"/>
              <a:gd name="connsiteX8" fmla="*/ 16616970 w 16635199"/>
              <a:gd name="connsiteY8" fmla="*/ 1305784 h 9051869"/>
              <a:gd name="connsiteX9" fmla="*/ 16622922 w 16635199"/>
              <a:gd name="connsiteY9" fmla="*/ 5061130 h 9051869"/>
              <a:gd name="connsiteX10" fmla="*/ 16635197 w 16635199"/>
              <a:gd name="connsiteY10" fmla="*/ 5061130 h 9051869"/>
              <a:gd name="connsiteX11" fmla="*/ 16635197 w 16635199"/>
              <a:gd name="connsiteY11" fmla="*/ 7712493 h 9051869"/>
              <a:gd name="connsiteX12" fmla="*/ 16635199 w 16635199"/>
              <a:gd name="connsiteY12" fmla="*/ 7712493 h 9051869"/>
              <a:gd name="connsiteX13" fmla="*/ 16635199 w 16635199"/>
              <a:gd name="connsiteY13" fmla="*/ 9051869 h 9051869"/>
              <a:gd name="connsiteX0" fmla="*/ 16635199 w 16635199"/>
              <a:gd name="connsiteY0" fmla="*/ 9051869 h 9051869"/>
              <a:gd name="connsiteX1" fmla="*/ 2 w 16635199"/>
              <a:gd name="connsiteY1" fmla="*/ 9051869 h 9051869"/>
              <a:gd name="connsiteX2" fmla="*/ 2 w 16635199"/>
              <a:gd name="connsiteY2" fmla="*/ 7715663 h 9051869"/>
              <a:gd name="connsiteX3" fmla="*/ 0 w 16635199"/>
              <a:gd name="connsiteY3" fmla="*/ 7715663 h 9051869"/>
              <a:gd name="connsiteX4" fmla="*/ 0 w 16635199"/>
              <a:gd name="connsiteY4" fmla="*/ 36927 h 9051869"/>
              <a:gd name="connsiteX5" fmla="*/ 924138 w 16635199"/>
              <a:gd name="connsiteY5" fmla="*/ 36927 h 9051869"/>
              <a:gd name="connsiteX6" fmla="*/ 924138 w 16635199"/>
              <a:gd name="connsiteY6" fmla="*/ 36928 h 9051869"/>
              <a:gd name="connsiteX7" fmla="*/ 15048399 w 16635199"/>
              <a:gd name="connsiteY7" fmla="*/ 995 h 9051869"/>
              <a:gd name="connsiteX8" fmla="*/ 16616970 w 16635199"/>
              <a:gd name="connsiteY8" fmla="*/ 1305784 h 9051869"/>
              <a:gd name="connsiteX9" fmla="*/ 16622922 w 16635199"/>
              <a:gd name="connsiteY9" fmla="*/ 5061130 h 9051869"/>
              <a:gd name="connsiteX10" fmla="*/ 16635197 w 16635199"/>
              <a:gd name="connsiteY10" fmla="*/ 5061130 h 9051869"/>
              <a:gd name="connsiteX11" fmla="*/ 16635197 w 16635199"/>
              <a:gd name="connsiteY11" fmla="*/ 7712493 h 9051869"/>
              <a:gd name="connsiteX12" fmla="*/ 16635199 w 16635199"/>
              <a:gd name="connsiteY12" fmla="*/ 7712493 h 9051869"/>
              <a:gd name="connsiteX13" fmla="*/ 16635199 w 16635199"/>
              <a:gd name="connsiteY13" fmla="*/ 9051869 h 9051869"/>
              <a:gd name="connsiteX0" fmla="*/ 16635199 w 16635199"/>
              <a:gd name="connsiteY0" fmla="*/ 9052697 h 9052697"/>
              <a:gd name="connsiteX1" fmla="*/ 2 w 16635199"/>
              <a:gd name="connsiteY1" fmla="*/ 9052697 h 9052697"/>
              <a:gd name="connsiteX2" fmla="*/ 2 w 16635199"/>
              <a:gd name="connsiteY2" fmla="*/ 7716491 h 9052697"/>
              <a:gd name="connsiteX3" fmla="*/ 0 w 16635199"/>
              <a:gd name="connsiteY3" fmla="*/ 7716491 h 9052697"/>
              <a:gd name="connsiteX4" fmla="*/ 0 w 16635199"/>
              <a:gd name="connsiteY4" fmla="*/ 37755 h 9052697"/>
              <a:gd name="connsiteX5" fmla="*/ 924138 w 16635199"/>
              <a:gd name="connsiteY5" fmla="*/ 37755 h 9052697"/>
              <a:gd name="connsiteX6" fmla="*/ 924138 w 16635199"/>
              <a:gd name="connsiteY6" fmla="*/ 37756 h 9052697"/>
              <a:gd name="connsiteX7" fmla="*/ 15048399 w 16635199"/>
              <a:gd name="connsiteY7" fmla="*/ 1823 h 9052697"/>
              <a:gd name="connsiteX8" fmla="*/ 16616970 w 16635199"/>
              <a:gd name="connsiteY8" fmla="*/ 1306612 h 9052697"/>
              <a:gd name="connsiteX9" fmla="*/ 16622922 w 16635199"/>
              <a:gd name="connsiteY9" fmla="*/ 5061958 h 9052697"/>
              <a:gd name="connsiteX10" fmla="*/ 16635197 w 16635199"/>
              <a:gd name="connsiteY10" fmla="*/ 5061958 h 9052697"/>
              <a:gd name="connsiteX11" fmla="*/ 16635197 w 16635199"/>
              <a:gd name="connsiteY11" fmla="*/ 7713321 h 9052697"/>
              <a:gd name="connsiteX12" fmla="*/ 16635199 w 16635199"/>
              <a:gd name="connsiteY12" fmla="*/ 7713321 h 9052697"/>
              <a:gd name="connsiteX13" fmla="*/ 16635199 w 16635199"/>
              <a:gd name="connsiteY13" fmla="*/ 9052697 h 9052697"/>
              <a:gd name="connsiteX0" fmla="*/ 16635199 w 16651694"/>
              <a:gd name="connsiteY0" fmla="*/ 9052726 h 9052726"/>
              <a:gd name="connsiteX1" fmla="*/ 2 w 16651694"/>
              <a:gd name="connsiteY1" fmla="*/ 9052726 h 9052726"/>
              <a:gd name="connsiteX2" fmla="*/ 2 w 16651694"/>
              <a:gd name="connsiteY2" fmla="*/ 7716520 h 9052726"/>
              <a:gd name="connsiteX3" fmla="*/ 0 w 16651694"/>
              <a:gd name="connsiteY3" fmla="*/ 7716520 h 9052726"/>
              <a:gd name="connsiteX4" fmla="*/ 0 w 16651694"/>
              <a:gd name="connsiteY4" fmla="*/ 37784 h 9052726"/>
              <a:gd name="connsiteX5" fmla="*/ 924138 w 16651694"/>
              <a:gd name="connsiteY5" fmla="*/ 37784 h 9052726"/>
              <a:gd name="connsiteX6" fmla="*/ 924138 w 16651694"/>
              <a:gd name="connsiteY6" fmla="*/ 37785 h 9052726"/>
              <a:gd name="connsiteX7" fmla="*/ 15048399 w 16651694"/>
              <a:gd name="connsiteY7" fmla="*/ 1852 h 9052726"/>
              <a:gd name="connsiteX8" fmla="*/ 16651694 w 16651694"/>
              <a:gd name="connsiteY8" fmla="*/ 1295066 h 9052726"/>
              <a:gd name="connsiteX9" fmla="*/ 16622922 w 16651694"/>
              <a:gd name="connsiteY9" fmla="*/ 5061987 h 9052726"/>
              <a:gd name="connsiteX10" fmla="*/ 16635197 w 16651694"/>
              <a:gd name="connsiteY10" fmla="*/ 5061987 h 9052726"/>
              <a:gd name="connsiteX11" fmla="*/ 16635197 w 16651694"/>
              <a:gd name="connsiteY11" fmla="*/ 7713350 h 9052726"/>
              <a:gd name="connsiteX12" fmla="*/ 16635199 w 16651694"/>
              <a:gd name="connsiteY12" fmla="*/ 7713350 h 9052726"/>
              <a:gd name="connsiteX13" fmla="*/ 16635199 w 16651694"/>
              <a:gd name="connsiteY13" fmla="*/ 9052726 h 9052726"/>
              <a:gd name="connsiteX0" fmla="*/ 16635199 w 16635199"/>
              <a:gd name="connsiteY0" fmla="*/ 9052726 h 9052726"/>
              <a:gd name="connsiteX1" fmla="*/ 2 w 16635199"/>
              <a:gd name="connsiteY1" fmla="*/ 9052726 h 9052726"/>
              <a:gd name="connsiteX2" fmla="*/ 2 w 16635199"/>
              <a:gd name="connsiteY2" fmla="*/ 7716520 h 9052726"/>
              <a:gd name="connsiteX3" fmla="*/ 0 w 16635199"/>
              <a:gd name="connsiteY3" fmla="*/ 7716520 h 9052726"/>
              <a:gd name="connsiteX4" fmla="*/ 0 w 16635199"/>
              <a:gd name="connsiteY4" fmla="*/ 37784 h 9052726"/>
              <a:gd name="connsiteX5" fmla="*/ 924138 w 16635199"/>
              <a:gd name="connsiteY5" fmla="*/ 37784 h 9052726"/>
              <a:gd name="connsiteX6" fmla="*/ 924138 w 16635199"/>
              <a:gd name="connsiteY6" fmla="*/ 37785 h 9052726"/>
              <a:gd name="connsiteX7" fmla="*/ 15048399 w 16635199"/>
              <a:gd name="connsiteY7" fmla="*/ 1852 h 9052726"/>
              <a:gd name="connsiteX8" fmla="*/ 16605396 w 16635199"/>
              <a:gd name="connsiteY8" fmla="*/ 1295066 h 9052726"/>
              <a:gd name="connsiteX9" fmla="*/ 16622922 w 16635199"/>
              <a:gd name="connsiteY9" fmla="*/ 5061987 h 9052726"/>
              <a:gd name="connsiteX10" fmla="*/ 16635197 w 16635199"/>
              <a:gd name="connsiteY10" fmla="*/ 5061987 h 9052726"/>
              <a:gd name="connsiteX11" fmla="*/ 16635197 w 16635199"/>
              <a:gd name="connsiteY11" fmla="*/ 7713350 h 9052726"/>
              <a:gd name="connsiteX12" fmla="*/ 16635199 w 16635199"/>
              <a:gd name="connsiteY12" fmla="*/ 7713350 h 9052726"/>
              <a:gd name="connsiteX13" fmla="*/ 16635199 w 16635199"/>
              <a:gd name="connsiteY13" fmla="*/ 9052726 h 9052726"/>
              <a:gd name="connsiteX0" fmla="*/ 16635199 w 16635199"/>
              <a:gd name="connsiteY0" fmla="*/ 9052726 h 9052726"/>
              <a:gd name="connsiteX1" fmla="*/ 2 w 16635199"/>
              <a:gd name="connsiteY1" fmla="*/ 9052726 h 9052726"/>
              <a:gd name="connsiteX2" fmla="*/ 2 w 16635199"/>
              <a:gd name="connsiteY2" fmla="*/ 7716520 h 9052726"/>
              <a:gd name="connsiteX3" fmla="*/ 0 w 16635199"/>
              <a:gd name="connsiteY3" fmla="*/ 7716520 h 9052726"/>
              <a:gd name="connsiteX4" fmla="*/ 0 w 16635199"/>
              <a:gd name="connsiteY4" fmla="*/ 37784 h 9052726"/>
              <a:gd name="connsiteX5" fmla="*/ 924138 w 16635199"/>
              <a:gd name="connsiteY5" fmla="*/ 37784 h 9052726"/>
              <a:gd name="connsiteX6" fmla="*/ 924138 w 16635199"/>
              <a:gd name="connsiteY6" fmla="*/ 37785 h 9052726"/>
              <a:gd name="connsiteX7" fmla="*/ 15048399 w 16635199"/>
              <a:gd name="connsiteY7" fmla="*/ 1852 h 9052726"/>
              <a:gd name="connsiteX8" fmla="*/ 16605396 w 16635199"/>
              <a:gd name="connsiteY8" fmla="*/ 1295066 h 9052726"/>
              <a:gd name="connsiteX9" fmla="*/ 16622922 w 16635199"/>
              <a:gd name="connsiteY9" fmla="*/ 5061987 h 9052726"/>
              <a:gd name="connsiteX10" fmla="*/ 16635197 w 16635199"/>
              <a:gd name="connsiteY10" fmla="*/ 5061987 h 9052726"/>
              <a:gd name="connsiteX11" fmla="*/ 16635197 w 16635199"/>
              <a:gd name="connsiteY11" fmla="*/ 7713350 h 9052726"/>
              <a:gd name="connsiteX12" fmla="*/ 16635199 w 16635199"/>
              <a:gd name="connsiteY12" fmla="*/ 7713350 h 9052726"/>
              <a:gd name="connsiteX13" fmla="*/ 16635199 w 16635199"/>
              <a:gd name="connsiteY13" fmla="*/ 9052726 h 9052726"/>
              <a:gd name="connsiteX0" fmla="*/ 16635199 w 16642025"/>
              <a:gd name="connsiteY0" fmla="*/ 9052755 h 9052755"/>
              <a:gd name="connsiteX1" fmla="*/ 2 w 16642025"/>
              <a:gd name="connsiteY1" fmla="*/ 9052755 h 9052755"/>
              <a:gd name="connsiteX2" fmla="*/ 2 w 16642025"/>
              <a:gd name="connsiteY2" fmla="*/ 7716549 h 9052755"/>
              <a:gd name="connsiteX3" fmla="*/ 0 w 16642025"/>
              <a:gd name="connsiteY3" fmla="*/ 7716549 h 9052755"/>
              <a:gd name="connsiteX4" fmla="*/ 0 w 16642025"/>
              <a:gd name="connsiteY4" fmla="*/ 37813 h 9052755"/>
              <a:gd name="connsiteX5" fmla="*/ 924138 w 16642025"/>
              <a:gd name="connsiteY5" fmla="*/ 37813 h 9052755"/>
              <a:gd name="connsiteX6" fmla="*/ 924138 w 16642025"/>
              <a:gd name="connsiteY6" fmla="*/ 37814 h 9052755"/>
              <a:gd name="connsiteX7" fmla="*/ 15048399 w 16642025"/>
              <a:gd name="connsiteY7" fmla="*/ 1881 h 9052755"/>
              <a:gd name="connsiteX8" fmla="*/ 16628546 w 16642025"/>
              <a:gd name="connsiteY8" fmla="*/ 1283520 h 9052755"/>
              <a:gd name="connsiteX9" fmla="*/ 16622922 w 16642025"/>
              <a:gd name="connsiteY9" fmla="*/ 5062016 h 9052755"/>
              <a:gd name="connsiteX10" fmla="*/ 16635197 w 16642025"/>
              <a:gd name="connsiteY10" fmla="*/ 5062016 h 9052755"/>
              <a:gd name="connsiteX11" fmla="*/ 16635197 w 16642025"/>
              <a:gd name="connsiteY11" fmla="*/ 7713379 h 9052755"/>
              <a:gd name="connsiteX12" fmla="*/ 16635199 w 16642025"/>
              <a:gd name="connsiteY12" fmla="*/ 7713379 h 9052755"/>
              <a:gd name="connsiteX13" fmla="*/ 16635199 w 16642025"/>
              <a:gd name="connsiteY13" fmla="*/ 9052755 h 9052755"/>
              <a:gd name="connsiteX0" fmla="*/ 16635199 w 16642025"/>
              <a:gd name="connsiteY0" fmla="*/ 9052457 h 9052457"/>
              <a:gd name="connsiteX1" fmla="*/ 2 w 16642025"/>
              <a:gd name="connsiteY1" fmla="*/ 9052457 h 9052457"/>
              <a:gd name="connsiteX2" fmla="*/ 2 w 16642025"/>
              <a:gd name="connsiteY2" fmla="*/ 7716251 h 9052457"/>
              <a:gd name="connsiteX3" fmla="*/ 0 w 16642025"/>
              <a:gd name="connsiteY3" fmla="*/ 7716251 h 9052457"/>
              <a:gd name="connsiteX4" fmla="*/ 0 w 16642025"/>
              <a:gd name="connsiteY4" fmla="*/ 37515 h 9052457"/>
              <a:gd name="connsiteX5" fmla="*/ 924138 w 16642025"/>
              <a:gd name="connsiteY5" fmla="*/ 37515 h 9052457"/>
              <a:gd name="connsiteX6" fmla="*/ 924138 w 16642025"/>
              <a:gd name="connsiteY6" fmla="*/ 37516 h 9052457"/>
              <a:gd name="connsiteX7" fmla="*/ 15048399 w 16642025"/>
              <a:gd name="connsiteY7" fmla="*/ 1583 h 9052457"/>
              <a:gd name="connsiteX8" fmla="*/ 16628546 w 16642025"/>
              <a:gd name="connsiteY8" fmla="*/ 1283222 h 9052457"/>
              <a:gd name="connsiteX9" fmla="*/ 16622922 w 16642025"/>
              <a:gd name="connsiteY9" fmla="*/ 5061718 h 9052457"/>
              <a:gd name="connsiteX10" fmla="*/ 16635197 w 16642025"/>
              <a:gd name="connsiteY10" fmla="*/ 5061718 h 9052457"/>
              <a:gd name="connsiteX11" fmla="*/ 16635197 w 16642025"/>
              <a:gd name="connsiteY11" fmla="*/ 7713081 h 9052457"/>
              <a:gd name="connsiteX12" fmla="*/ 16635199 w 16642025"/>
              <a:gd name="connsiteY12" fmla="*/ 7713081 h 9052457"/>
              <a:gd name="connsiteX13" fmla="*/ 16635199 w 16642025"/>
              <a:gd name="connsiteY13" fmla="*/ 9052457 h 9052457"/>
              <a:gd name="connsiteX0" fmla="*/ 16635199 w 16642025"/>
              <a:gd name="connsiteY0" fmla="*/ 9053374 h 9053374"/>
              <a:gd name="connsiteX1" fmla="*/ 2 w 16642025"/>
              <a:gd name="connsiteY1" fmla="*/ 9053374 h 9053374"/>
              <a:gd name="connsiteX2" fmla="*/ 2 w 16642025"/>
              <a:gd name="connsiteY2" fmla="*/ 7717168 h 9053374"/>
              <a:gd name="connsiteX3" fmla="*/ 0 w 16642025"/>
              <a:gd name="connsiteY3" fmla="*/ 7717168 h 9053374"/>
              <a:gd name="connsiteX4" fmla="*/ 0 w 16642025"/>
              <a:gd name="connsiteY4" fmla="*/ 38432 h 9053374"/>
              <a:gd name="connsiteX5" fmla="*/ 924138 w 16642025"/>
              <a:gd name="connsiteY5" fmla="*/ 38432 h 9053374"/>
              <a:gd name="connsiteX6" fmla="*/ 924138 w 16642025"/>
              <a:gd name="connsiteY6" fmla="*/ 38433 h 9053374"/>
              <a:gd name="connsiteX7" fmla="*/ 15048399 w 16642025"/>
              <a:gd name="connsiteY7" fmla="*/ 2500 h 9053374"/>
              <a:gd name="connsiteX8" fmla="*/ 16628546 w 16642025"/>
              <a:gd name="connsiteY8" fmla="*/ 1284139 h 9053374"/>
              <a:gd name="connsiteX9" fmla="*/ 16622922 w 16642025"/>
              <a:gd name="connsiteY9" fmla="*/ 5062635 h 9053374"/>
              <a:gd name="connsiteX10" fmla="*/ 16635197 w 16642025"/>
              <a:gd name="connsiteY10" fmla="*/ 5062635 h 9053374"/>
              <a:gd name="connsiteX11" fmla="*/ 16635197 w 16642025"/>
              <a:gd name="connsiteY11" fmla="*/ 7713998 h 9053374"/>
              <a:gd name="connsiteX12" fmla="*/ 16635199 w 16642025"/>
              <a:gd name="connsiteY12" fmla="*/ 7713998 h 9053374"/>
              <a:gd name="connsiteX13" fmla="*/ 16635199 w 16642025"/>
              <a:gd name="connsiteY13" fmla="*/ 9053374 h 9053374"/>
              <a:gd name="connsiteX0" fmla="*/ 16635199 w 16642025"/>
              <a:gd name="connsiteY0" fmla="*/ 9053374 h 9053374"/>
              <a:gd name="connsiteX1" fmla="*/ 2 w 16642025"/>
              <a:gd name="connsiteY1" fmla="*/ 9053374 h 9053374"/>
              <a:gd name="connsiteX2" fmla="*/ 2 w 16642025"/>
              <a:gd name="connsiteY2" fmla="*/ 7717168 h 9053374"/>
              <a:gd name="connsiteX3" fmla="*/ 0 w 16642025"/>
              <a:gd name="connsiteY3" fmla="*/ 7717168 h 9053374"/>
              <a:gd name="connsiteX4" fmla="*/ 0 w 16642025"/>
              <a:gd name="connsiteY4" fmla="*/ 38432 h 9053374"/>
              <a:gd name="connsiteX5" fmla="*/ 924138 w 16642025"/>
              <a:gd name="connsiteY5" fmla="*/ 38432 h 9053374"/>
              <a:gd name="connsiteX6" fmla="*/ 924138 w 16642025"/>
              <a:gd name="connsiteY6" fmla="*/ 38433 h 9053374"/>
              <a:gd name="connsiteX7" fmla="*/ 15048399 w 16642025"/>
              <a:gd name="connsiteY7" fmla="*/ 2500 h 9053374"/>
              <a:gd name="connsiteX8" fmla="*/ 16628546 w 16642025"/>
              <a:gd name="connsiteY8" fmla="*/ 1284139 h 9053374"/>
              <a:gd name="connsiteX9" fmla="*/ 16622922 w 16642025"/>
              <a:gd name="connsiteY9" fmla="*/ 5062635 h 9053374"/>
              <a:gd name="connsiteX10" fmla="*/ 16635197 w 16642025"/>
              <a:gd name="connsiteY10" fmla="*/ 5062635 h 9053374"/>
              <a:gd name="connsiteX11" fmla="*/ 16635197 w 16642025"/>
              <a:gd name="connsiteY11" fmla="*/ 7713998 h 9053374"/>
              <a:gd name="connsiteX12" fmla="*/ 16635199 w 16642025"/>
              <a:gd name="connsiteY12" fmla="*/ 7713998 h 9053374"/>
              <a:gd name="connsiteX13" fmla="*/ 16635199 w 16642025"/>
              <a:gd name="connsiteY13" fmla="*/ 9053374 h 9053374"/>
              <a:gd name="connsiteX0" fmla="*/ 16635199 w 16642025"/>
              <a:gd name="connsiteY0" fmla="*/ 9053374 h 9053374"/>
              <a:gd name="connsiteX1" fmla="*/ 2 w 16642025"/>
              <a:gd name="connsiteY1" fmla="*/ 9053374 h 9053374"/>
              <a:gd name="connsiteX2" fmla="*/ 2 w 16642025"/>
              <a:gd name="connsiteY2" fmla="*/ 7717168 h 9053374"/>
              <a:gd name="connsiteX3" fmla="*/ 0 w 16642025"/>
              <a:gd name="connsiteY3" fmla="*/ 7717168 h 9053374"/>
              <a:gd name="connsiteX4" fmla="*/ 0 w 16642025"/>
              <a:gd name="connsiteY4" fmla="*/ 38432 h 9053374"/>
              <a:gd name="connsiteX5" fmla="*/ 924138 w 16642025"/>
              <a:gd name="connsiteY5" fmla="*/ 38432 h 9053374"/>
              <a:gd name="connsiteX6" fmla="*/ 924138 w 16642025"/>
              <a:gd name="connsiteY6" fmla="*/ 38433 h 9053374"/>
              <a:gd name="connsiteX7" fmla="*/ 14990526 w 16642025"/>
              <a:gd name="connsiteY7" fmla="*/ 2500 h 9053374"/>
              <a:gd name="connsiteX8" fmla="*/ 16628546 w 16642025"/>
              <a:gd name="connsiteY8" fmla="*/ 1284139 h 9053374"/>
              <a:gd name="connsiteX9" fmla="*/ 16622922 w 16642025"/>
              <a:gd name="connsiteY9" fmla="*/ 5062635 h 9053374"/>
              <a:gd name="connsiteX10" fmla="*/ 16635197 w 16642025"/>
              <a:gd name="connsiteY10" fmla="*/ 5062635 h 9053374"/>
              <a:gd name="connsiteX11" fmla="*/ 16635197 w 16642025"/>
              <a:gd name="connsiteY11" fmla="*/ 7713998 h 9053374"/>
              <a:gd name="connsiteX12" fmla="*/ 16635199 w 16642025"/>
              <a:gd name="connsiteY12" fmla="*/ 7713998 h 9053374"/>
              <a:gd name="connsiteX13" fmla="*/ 16635199 w 16642025"/>
              <a:gd name="connsiteY13" fmla="*/ 9053374 h 9053374"/>
              <a:gd name="connsiteX0" fmla="*/ 16635199 w 16642025"/>
              <a:gd name="connsiteY0" fmla="*/ 9053374 h 9053374"/>
              <a:gd name="connsiteX1" fmla="*/ 2 w 16642025"/>
              <a:gd name="connsiteY1" fmla="*/ 9053374 h 9053374"/>
              <a:gd name="connsiteX2" fmla="*/ 2 w 16642025"/>
              <a:gd name="connsiteY2" fmla="*/ 7717168 h 9053374"/>
              <a:gd name="connsiteX3" fmla="*/ 0 w 16642025"/>
              <a:gd name="connsiteY3" fmla="*/ 7717168 h 9053374"/>
              <a:gd name="connsiteX4" fmla="*/ 0 w 16642025"/>
              <a:gd name="connsiteY4" fmla="*/ 38432 h 9053374"/>
              <a:gd name="connsiteX5" fmla="*/ 924138 w 16642025"/>
              <a:gd name="connsiteY5" fmla="*/ 38432 h 9053374"/>
              <a:gd name="connsiteX6" fmla="*/ 924138 w 16642025"/>
              <a:gd name="connsiteY6" fmla="*/ 38433 h 9053374"/>
              <a:gd name="connsiteX7" fmla="*/ 14990526 w 16642025"/>
              <a:gd name="connsiteY7" fmla="*/ 2500 h 9053374"/>
              <a:gd name="connsiteX8" fmla="*/ 16628546 w 16642025"/>
              <a:gd name="connsiteY8" fmla="*/ 1284139 h 9053374"/>
              <a:gd name="connsiteX9" fmla="*/ 16622922 w 16642025"/>
              <a:gd name="connsiteY9" fmla="*/ 5062635 h 9053374"/>
              <a:gd name="connsiteX10" fmla="*/ 16635197 w 16642025"/>
              <a:gd name="connsiteY10" fmla="*/ 5062635 h 9053374"/>
              <a:gd name="connsiteX11" fmla="*/ 16635197 w 16642025"/>
              <a:gd name="connsiteY11" fmla="*/ 7713998 h 9053374"/>
              <a:gd name="connsiteX12" fmla="*/ 16635199 w 16642025"/>
              <a:gd name="connsiteY12" fmla="*/ 7713998 h 9053374"/>
              <a:gd name="connsiteX13" fmla="*/ 16635199 w 16642025"/>
              <a:gd name="connsiteY13" fmla="*/ 9053374 h 9053374"/>
              <a:gd name="connsiteX0" fmla="*/ 16635199 w 16642025"/>
              <a:gd name="connsiteY0" fmla="*/ 9041833 h 9041833"/>
              <a:gd name="connsiteX1" fmla="*/ 2 w 16642025"/>
              <a:gd name="connsiteY1" fmla="*/ 9041833 h 9041833"/>
              <a:gd name="connsiteX2" fmla="*/ 2 w 16642025"/>
              <a:gd name="connsiteY2" fmla="*/ 7705627 h 9041833"/>
              <a:gd name="connsiteX3" fmla="*/ 0 w 16642025"/>
              <a:gd name="connsiteY3" fmla="*/ 7705627 h 9041833"/>
              <a:gd name="connsiteX4" fmla="*/ 0 w 16642025"/>
              <a:gd name="connsiteY4" fmla="*/ 26891 h 9041833"/>
              <a:gd name="connsiteX5" fmla="*/ 924138 w 16642025"/>
              <a:gd name="connsiteY5" fmla="*/ 26891 h 9041833"/>
              <a:gd name="connsiteX6" fmla="*/ 924138 w 16642025"/>
              <a:gd name="connsiteY6" fmla="*/ 26892 h 9041833"/>
              <a:gd name="connsiteX7" fmla="*/ 15013675 w 16642025"/>
              <a:gd name="connsiteY7" fmla="*/ 2534 h 9041833"/>
              <a:gd name="connsiteX8" fmla="*/ 16628546 w 16642025"/>
              <a:gd name="connsiteY8" fmla="*/ 1272598 h 9041833"/>
              <a:gd name="connsiteX9" fmla="*/ 16622922 w 16642025"/>
              <a:gd name="connsiteY9" fmla="*/ 5051094 h 9041833"/>
              <a:gd name="connsiteX10" fmla="*/ 16635197 w 16642025"/>
              <a:gd name="connsiteY10" fmla="*/ 5051094 h 9041833"/>
              <a:gd name="connsiteX11" fmla="*/ 16635197 w 16642025"/>
              <a:gd name="connsiteY11" fmla="*/ 7702457 h 9041833"/>
              <a:gd name="connsiteX12" fmla="*/ 16635199 w 16642025"/>
              <a:gd name="connsiteY12" fmla="*/ 7702457 h 9041833"/>
              <a:gd name="connsiteX13" fmla="*/ 16635199 w 16642025"/>
              <a:gd name="connsiteY13" fmla="*/ 9041833 h 9041833"/>
              <a:gd name="connsiteX0" fmla="*/ 16635199 w 16642025"/>
              <a:gd name="connsiteY0" fmla="*/ 9041736 h 9041736"/>
              <a:gd name="connsiteX1" fmla="*/ 2 w 16642025"/>
              <a:gd name="connsiteY1" fmla="*/ 9041736 h 9041736"/>
              <a:gd name="connsiteX2" fmla="*/ 2 w 16642025"/>
              <a:gd name="connsiteY2" fmla="*/ 7705530 h 9041736"/>
              <a:gd name="connsiteX3" fmla="*/ 0 w 16642025"/>
              <a:gd name="connsiteY3" fmla="*/ 7705530 h 9041736"/>
              <a:gd name="connsiteX4" fmla="*/ 0 w 16642025"/>
              <a:gd name="connsiteY4" fmla="*/ 26794 h 9041736"/>
              <a:gd name="connsiteX5" fmla="*/ 924138 w 16642025"/>
              <a:gd name="connsiteY5" fmla="*/ 26794 h 9041736"/>
              <a:gd name="connsiteX6" fmla="*/ 924138 w 16642025"/>
              <a:gd name="connsiteY6" fmla="*/ 26795 h 9041736"/>
              <a:gd name="connsiteX7" fmla="*/ 15013675 w 16642025"/>
              <a:gd name="connsiteY7" fmla="*/ 2437 h 9041736"/>
              <a:gd name="connsiteX8" fmla="*/ 16628546 w 16642025"/>
              <a:gd name="connsiteY8" fmla="*/ 1307225 h 9041736"/>
              <a:gd name="connsiteX9" fmla="*/ 16622922 w 16642025"/>
              <a:gd name="connsiteY9" fmla="*/ 5050997 h 9041736"/>
              <a:gd name="connsiteX10" fmla="*/ 16635197 w 16642025"/>
              <a:gd name="connsiteY10" fmla="*/ 5050997 h 9041736"/>
              <a:gd name="connsiteX11" fmla="*/ 16635197 w 16642025"/>
              <a:gd name="connsiteY11" fmla="*/ 7702360 h 9041736"/>
              <a:gd name="connsiteX12" fmla="*/ 16635199 w 16642025"/>
              <a:gd name="connsiteY12" fmla="*/ 7702360 h 9041736"/>
              <a:gd name="connsiteX13" fmla="*/ 16635199 w 16642025"/>
              <a:gd name="connsiteY13" fmla="*/ 9041736 h 9041736"/>
              <a:gd name="connsiteX0" fmla="*/ 16635199 w 16635199"/>
              <a:gd name="connsiteY0" fmla="*/ 9041767 h 9041767"/>
              <a:gd name="connsiteX1" fmla="*/ 2 w 16635199"/>
              <a:gd name="connsiteY1" fmla="*/ 9041767 h 9041767"/>
              <a:gd name="connsiteX2" fmla="*/ 2 w 16635199"/>
              <a:gd name="connsiteY2" fmla="*/ 7705561 h 9041767"/>
              <a:gd name="connsiteX3" fmla="*/ 0 w 16635199"/>
              <a:gd name="connsiteY3" fmla="*/ 7705561 h 9041767"/>
              <a:gd name="connsiteX4" fmla="*/ 0 w 16635199"/>
              <a:gd name="connsiteY4" fmla="*/ 26825 h 9041767"/>
              <a:gd name="connsiteX5" fmla="*/ 924138 w 16635199"/>
              <a:gd name="connsiteY5" fmla="*/ 26825 h 9041767"/>
              <a:gd name="connsiteX6" fmla="*/ 924138 w 16635199"/>
              <a:gd name="connsiteY6" fmla="*/ 26826 h 9041767"/>
              <a:gd name="connsiteX7" fmla="*/ 15013675 w 16635199"/>
              <a:gd name="connsiteY7" fmla="*/ 2468 h 9041767"/>
              <a:gd name="connsiteX8" fmla="*/ 16593822 w 16635199"/>
              <a:gd name="connsiteY8" fmla="*/ 1295682 h 9041767"/>
              <a:gd name="connsiteX9" fmla="*/ 16622922 w 16635199"/>
              <a:gd name="connsiteY9" fmla="*/ 5051028 h 9041767"/>
              <a:gd name="connsiteX10" fmla="*/ 16635197 w 16635199"/>
              <a:gd name="connsiteY10" fmla="*/ 5051028 h 9041767"/>
              <a:gd name="connsiteX11" fmla="*/ 16635197 w 16635199"/>
              <a:gd name="connsiteY11" fmla="*/ 7702391 h 9041767"/>
              <a:gd name="connsiteX12" fmla="*/ 16635199 w 16635199"/>
              <a:gd name="connsiteY12" fmla="*/ 7702391 h 9041767"/>
              <a:gd name="connsiteX13" fmla="*/ 16635199 w 16635199"/>
              <a:gd name="connsiteY13" fmla="*/ 9041767 h 9041767"/>
              <a:gd name="connsiteX0" fmla="*/ 16635199 w 16642025"/>
              <a:gd name="connsiteY0" fmla="*/ 9041799 h 9041799"/>
              <a:gd name="connsiteX1" fmla="*/ 2 w 16642025"/>
              <a:gd name="connsiteY1" fmla="*/ 9041799 h 9041799"/>
              <a:gd name="connsiteX2" fmla="*/ 2 w 16642025"/>
              <a:gd name="connsiteY2" fmla="*/ 7705593 h 9041799"/>
              <a:gd name="connsiteX3" fmla="*/ 0 w 16642025"/>
              <a:gd name="connsiteY3" fmla="*/ 7705593 h 9041799"/>
              <a:gd name="connsiteX4" fmla="*/ 0 w 16642025"/>
              <a:gd name="connsiteY4" fmla="*/ 26857 h 9041799"/>
              <a:gd name="connsiteX5" fmla="*/ 924138 w 16642025"/>
              <a:gd name="connsiteY5" fmla="*/ 26857 h 9041799"/>
              <a:gd name="connsiteX6" fmla="*/ 924138 w 16642025"/>
              <a:gd name="connsiteY6" fmla="*/ 26858 h 9041799"/>
              <a:gd name="connsiteX7" fmla="*/ 15013675 w 16642025"/>
              <a:gd name="connsiteY7" fmla="*/ 2500 h 9041799"/>
              <a:gd name="connsiteX8" fmla="*/ 16628546 w 16642025"/>
              <a:gd name="connsiteY8" fmla="*/ 1284139 h 9041799"/>
              <a:gd name="connsiteX9" fmla="*/ 16622922 w 16642025"/>
              <a:gd name="connsiteY9" fmla="*/ 5051060 h 9041799"/>
              <a:gd name="connsiteX10" fmla="*/ 16635197 w 16642025"/>
              <a:gd name="connsiteY10" fmla="*/ 5051060 h 9041799"/>
              <a:gd name="connsiteX11" fmla="*/ 16635197 w 16642025"/>
              <a:gd name="connsiteY11" fmla="*/ 7702423 h 9041799"/>
              <a:gd name="connsiteX12" fmla="*/ 16635199 w 16642025"/>
              <a:gd name="connsiteY12" fmla="*/ 7702423 h 9041799"/>
              <a:gd name="connsiteX13" fmla="*/ 16635199 w 16642025"/>
              <a:gd name="connsiteY13" fmla="*/ 9041799 h 9041799"/>
              <a:gd name="connsiteX0" fmla="*/ 16635199 w 16642025"/>
              <a:gd name="connsiteY0" fmla="*/ 9041799 h 9041799"/>
              <a:gd name="connsiteX1" fmla="*/ 2 w 16642025"/>
              <a:gd name="connsiteY1" fmla="*/ 9041799 h 9041799"/>
              <a:gd name="connsiteX2" fmla="*/ 2 w 16642025"/>
              <a:gd name="connsiteY2" fmla="*/ 7705593 h 9041799"/>
              <a:gd name="connsiteX3" fmla="*/ 0 w 16642025"/>
              <a:gd name="connsiteY3" fmla="*/ 7705593 h 9041799"/>
              <a:gd name="connsiteX4" fmla="*/ 0 w 16642025"/>
              <a:gd name="connsiteY4" fmla="*/ 26857 h 9041799"/>
              <a:gd name="connsiteX5" fmla="*/ 924138 w 16642025"/>
              <a:gd name="connsiteY5" fmla="*/ 26857 h 9041799"/>
              <a:gd name="connsiteX6" fmla="*/ 924138 w 16642025"/>
              <a:gd name="connsiteY6" fmla="*/ 26858 h 9041799"/>
              <a:gd name="connsiteX7" fmla="*/ 15013675 w 16642025"/>
              <a:gd name="connsiteY7" fmla="*/ 2500 h 9041799"/>
              <a:gd name="connsiteX8" fmla="*/ 16628546 w 16642025"/>
              <a:gd name="connsiteY8" fmla="*/ 1284139 h 9041799"/>
              <a:gd name="connsiteX9" fmla="*/ 16622922 w 16642025"/>
              <a:gd name="connsiteY9" fmla="*/ 5051060 h 9041799"/>
              <a:gd name="connsiteX10" fmla="*/ 16635197 w 16642025"/>
              <a:gd name="connsiteY10" fmla="*/ 5039486 h 9041799"/>
              <a:gd name="connsiteX11" fmla="*/ 16635197 w 16642025"/>
              <a:gd name="connsiteY11" fmla="*/ 7702423 h 9041799"/>
              <a:gd name="connsiteX12" fmla="*/ 16635199 w 16642025"/>
              <a:gd name="connsiteY12" fmla="*/ 7702423 h 9041799"/>
              <a:gd name="connsiteX13" fmla="*/ 16635199 w 16642025"/>
              <a:gd name="connsiteY13" fmla="*/ 9041799 h 9041799"/>
              <a:gd name="connsiteX0" fmla="*/ 16635199 w 16642025"/>
              <a:gd name="connsiteY0" fmla="*/ 9041799 h 9041799"/>
              <a:gd name="connsiteX1" fmla="*/ 2 w 16642025"/>
              <a:gd name="connsiteY1" fmla="*/ 9041799 h 9041799"/>
              <a:gd name="connsiteX2" fmla="*/ 2 w 16642025"/>
              <a:gd name="connsiteY2" fmla="*/ 7705593 h 9041799"/>
              <a:gd name="connsiteX3" fmla="*/ 0 w 16642025"/>
              <a:gd name="connsiteY3" fmla="*/ 7705593 h 9041799"/>
              <a:gd name="connsiteX4" fmla="*/ 0 w 16642025"/>
              <a:gd name="connsiteY4" fmla="*/ 26857 h 9041799"/>
              <a:gd name="connsiteX5" fmla="*/ 924138 w 16642025"/>
              <a:gd name="connsiteY5" fmla="*/ 26857 h 9041799"/>
              <a:gd name="connsiteX6" fmla="*/ 924138 w 16642025"/>
              <a:gd name="connsiteY6" fmla="*/ 26858 h 9041799"/>
              <a:gd name="connsiteX7" fmla="*/ 15013675 w 16642025"/>
              <a:gd name="connsiteY7" fmla="*/ 2500 h 9041799"/>
              <a:gd name="connsiteX8" fmla="*/ 16628546 w 16642025"/>
              <a:gd name="connsiteY8" fmla="*/ 1284139 h 9041799"/>
              <a:gd name="connsiteX9" fmla="*/ 16622922 w 16642025"/>
              <a:gd name="connsiteY9" fmla="*/ 5051060 h 9041799"/>
              <a:gd name="connsiteX10" fmla="*/ 16635197 w 16642025"/>
              <a:gd name="connsiteY10" fmla="*/ 5201532 h 9041799"/>
              <a:gd name="connsiteX11" fmla="*/ 16635197 w 16642025"/>
              <a:gd name="connsiteY11" fmla="*/ 7702423 h 9041799"/>
              <a:gd name="connsiteX12" fmla="*/ 16635199 w 16642025"/>
              <a:gd name="connsiteY12" fmla="*/ 7702423 h 9041799"/>
              <a:gd name="connsiteX13" fmla="*/ 16635199 w 16642025"/>
              <a:gd name="connsiteY13" fmla="*/ 9041799 h 9041799"/>
              <a:gd name="connsiteX0" fmla="*/ 16635199 w 16650409"/>
              <a:gd name="connsiteY0" fmla="*/ 9041799 h 9041799"/>
              <a:gd name="connsiteX1" fmla="*/ 2 w 16650409"/>
              <a:gd name="connsiteY1" fmla="*/ 9041799 h 9041799"/>
              <a:gd name="connsiteX2" fmla="*/ 2 w 16650409"/>
              <a:gd name="connsiteY2" fmla="*/ 7705593 h 9041799"/>
              <a:gd name="connsiteX3" fmla="*/ 0 w 16650409"/>
              <a:gd name="connsiteY3" fmla="*/ 7705593 h 9041799"/>
              <a:gd name="connsiteX4" fmla="*/ 0 w 16650409"/>
              <a:gd name="connsiteY4" fmla="*/ 26857 h 9041799"/>
              <a:gd name="connsiteX5" fmla="*/ 924138 w 16650409"/>
              <a:gd name="connsiteY5" fmla="*/ 26857 h 9041799"/>
              <a:gd name="connsiteX6" fmla="*/ 924138 w 16650409"/>
              <a:gd name="connsiteY6" fmla="*/ 26858 h 9041799"/>
              <a:gd name="connsiteX7" fmla="*/ 15013675 w 16650409"/>
              <a:gd name="connsiteY7" fmla="*/ 2500 h 9041799"/>
              <a:gd name="connsiteX8" fmla="*/ 16628546 w 16650409"/>
              <a:gd name="connsiteY8" fmla="*/ 1284139 h 9041799"/>
              <a:gd name="connsiteX9" fmla="*/ 16646071 w 16650409"/>
              <a:gd name="connsiteY9" fmla="*/ 4877440 h 9041799"/>
              <a:gd name="connsiteX10" fmla="*/ 16635197 w 16650409"/>
              <a:gd name="connsiteY10" fmla="*/ 5201532 h 9041799"/>
              <a:gd name="connsiteX11" fmla="*/ 16635197 w 16650409"/>
              <a:gd name="connsiteY11" fmla="*/ 7702423 h 9041799"/>
              <a:gd name="connsiteX12" fmla="*/ 16635199 w 16650409"/>
              <a:gd name="connsiteY12" fmla="*/ 7702423 h 9041799"/>
              <a:gd name="connsiteX13" fmla="*/ 16635199 w 16650409"/>
              <a:gd name="connsiteY13" fmla="*/ 9041799 h 9041799"/>
              <a:gd name="connsiteX0" fmla="*/ 16635199 w 16650409"/>
              <a:gd name="connsiteY0" fmla="*/ 9041799 h 9041799"/>
              <a:gd name="connsiteX1" fmla="*/ 2 w 16650409"/>
              <a:gd name="connsiteY1" fmla="*/ 9041799 h 9041799"/>
              <a:gd name="connsiteX2" fmla="*/ 2 w 16650409"/>
              <a:gd name="connsiteY2" fmla="*/ 7705593 h 9041799"/>
              <a:gd name="connsiteX3" fmla="*/ 0 w 16650409"/>
              <a:gd name="connsiteY3" fmla="*/ 7705593 h 9041799"/>
              <a:gd name="connsiteX4" fmla="*/ 0 w 16650409"/>
              <a:gd name="connsiteY4" fmla="*/ 26857 h 9041799"/>
              <a:gd name="connsiteX5" fmla="*/ 924138 w 16650409"/>
              <a:gd name="connsiteY5" fmla="*/ 26857 h 9041799"/>
              <a:gd name="connsiteX6" fmla="*/ 924138 w 16650409"/>
              <a:gd name="connsiteY6" fmla="*/ 26858 h 9041799"/>
              <a:gd name="connsiteX7" fmla="*/ 15013675 w 16650409"/>
              <a:gd name="connsiteY7" fmla="*/ 2500 h 9041799"/>
              <a:gd name="connsiteX8" fmla="*/ 16628546 w 16650409"/>
              <a:gd name="connsiteY8" fmla="*/ 1284139 h 9041799"/>
              <a:gd name="connsiteX9" fmla="*/ 16646071 w 16650409"/>
              <a:gd name="connsiteY9" fmla="*/ 4877440 h 9041799"/>
              <a:gd name="connsiteX10" fmla="*/ 16646771 w 16650409"/>
              <a:gd name="connsiteY10" fmla="*/ 5386727 h 9041799"/>
              <a:gd name="connsiteX11" fmla="*/ 16635197 w 16650409"/>
              <a:gd name="connsiteY11" fmla="*/ 7702423 h 9041799"/>
              <a:gd name="connsiteX12" fmla="*/ 16635199 w 16650409"/>
              <a:gd name="connsiteY12" fmla="*/ 7702423 h 9041799"/>
              <a:gd name="connsiteX13" fmla="*/ 16635199 w 16650409"/>
              <a:gd name="connsiteY13" fmla="*/ 9041799 h 9041799"/>
              <a:gd name="connsiteX0" fmla="*/ 16635199 w 16647120"/>
              <a:gd name="connsiteY0" fmla="*/ 9041241 h 9041241"/>
              <a:gd name="connsiteX1" fmla="*/ 2 w 16647120"/>
              <a:gd name="connsiteY1" fmla="*/ 9041241 h 9041241"/>
              <a:gd name="connsiteX2" fmla="*/ 2 w 16647120"/>
              <a:gd name="connsiteY2" fmla="*/ 7705035 h 9041241"/>
              <a:gd name="connsiteX3" fmla="*/ 0 w 16647120"/>
              <a:gd name="connsiteY3" fmla="*/ 7705035 h 9041241"/>
              <a:gd name="connsiteX4" fmla="*/ 0 w 16647120"/>
              <a:gd name="connsiteY4" fmla="*/ 26299 h 9041241"/>
              <a:gd name="connsiteX5" fmla="*/ 924138 w 16647120"/>
              <a:gd name="connsiteY5" fmla="*/ 26299 h 9041241"/>
              <a:gd name="connsiteX6" fmla="*/ 924138 w 16647120"/>
              <a:gd name="connsiteY6" fmla="*/ 26300 h 9041241"/>
              <a:gd name="connsiteX7" fmla="*/ 15013675 w 16647120"/>
              <a:gd name="connsiteY7" fmla="*/ 1942 h 9041241"/>
              <a:gd name="connsiteX8" fmla="*/ 16616971 w 16647120"/>
              <a:gd name="connsiteY8" fmla="*/ 1538224 h 9041241"/>
              <a:gd name="connsiteX9" fmla="*/ 16646071 w 16647120"/>
              <a:gd name="connsiteY9" fmla="*/ 4876882 h 9041241"/>
              <a:gd name="connsiteX10" fmla="*/ 16646771 w 16647120"/>
              <a:gd name="connsiteY10" fmla="*/ 5386169 h 9041241"/>
              <a:gd name="connsiteX11" fmla="*/ 16635197 w 16647120"/>
              <a:gd name="connsiteY11" fmla="*/ 7701865 h 9041241"/>
              <a:gd name="connsiteX12" fmla="*/ 16635199 w 16647120"/>
              <a:gd name="connsiteY12" fmla="*/ 7701865 h 9041241"/>
              <a:gd name="connsiteX13" fmla="*/ 16635199 w 16647120"/>
              <a:gd name="connsiteY13" fmla="*/ 9041241 h 9041241"/>
              <a:gd name="connsiteX0" fmla="*/ 16635199 w 16647120"/>
              <a:gd name="connsiteY0" fmla="*/ 9041962 h 9041962"/>
              <a:gd name="connsiteX1" fmla="*/ 2 w 16647120"/>
              <a:gd name="connsiteY1" fmla="*/ 9041962 h 9041962"/>
              <a:gd name="connsiteX2" fmla="*/ 2 w 16647120"/>
              <a:gd name="connsiteY2" fmla="*/ 7705756 h 9041962"/>
              <a:gd name="connsiteX3" fmla="*/ 0 w 16647120"/>
              <a:gd name="connsiteY3" fmla="*/ 7705756 h 9041962"/>
              <a:gd name="connsiteX4" fmla="*/ 0 w 16647120"/>
              <a:gd name="connsiteY4" fmla="*/ 27020 h 9041962"/>
              <a:gd name="connsiteX5" fmla="*/ 924138 w 16647120"/>
              <a:gd name="connsiteY5" fmla="*/ 27020 h 9041962"/>
              <a:gd name="connsiteX6" fmla="*/ 924138 w 16647120"/>
              <a:gd name="connsiteY6" fmla="*/ 27021 h 9041962"/>
              <a:gd name="connsiteX7" fmla="*/ 15013675 w 16647120"/>
              <a:gd name="connsiteY7" fmla="*/ 2663 h 9041962"/>
              <a:gd name="connsiteX8" fmla="*/ 16616971 w 16647120"/>
              <a:gd name="connsiteY8" fmla="*/ 1538945 h 9041962"/>
              <a:gd name="connsiteX9" fmla="*/ 16646071 w 16647120"/>
              <a:gd name="connsiteY9" fmla="*/ 4877603 h 9041962"/>
              <a:gd name="connsiteX10" fmla="*/ 16646771 w 16647120"/>
              <a:gd name="connsiteY10" fmla="*/ 5386890 h 9041962"/>
              <a:gd name="connsiteX11" fmla="*/ 16635197 w 16647120"/>
              <a:gd name="connsiteY11" fmla="*/ 7702586 h 9041962"/>
              <a:gd name="connsiteX12" fmla="*/ 16635199 w 16647120"/>
              <a:gd name="connsiteY12" fmla="*/ 7702586 h 9041962"/>
              <a:gd name="connsiteX13" fmla="*/ 16635199 w 16647120"/>
              <a:gd name="connsiteY13" fmla="*/ 9041962 h 9041962"/>
              <a:gd name="connsiteX0" fmla="*/ 16635199 w 16647120"/>
              <a:gd name="connsiteY0" fmla="*/ 9041962 h 9041962"/>
              <a:gd name="connsiteX1" fmla="*/ 2 w 16647120"/>
              <a:gd name="connsiteY1" fmla="*/ 9041962 h 9041962"/>
              <a:gd name="connsiteX2" fmla="*/ 2 w 16647120"/>
              <a:gd name="connsiteY2" fmla="*/ 7705756 h 9041962"/>
              <a:gd name="connsiteX3" fmla="*/ 0 w 16647120"/>
              <a:gd name="connsiteY3" fmla="*/ 7705756 h 9041962"/>
              <a:gd name="connsiteX4" fmla="*/ 0 w 16647120"/>
              <a:gd name="connsiteY4" fmla="*/ 27020 h 9041962"/>
              <a:gd name="connsiteX5" fmla="*/ 924138 w 16647120"/>
              <a:gd name="connsiteY5" fmla="*/ 27020 h 9041962"/>
              <a:gd name="connsiteX6" fmla="*/ 924138 w 16647120"/>
              <a:gd name="connsiteY6" fmla="*/ 27021 h 9041962"/>
              <a:gd name="connsiteX7" fmla="*/ 15013675 w 16647120"/>
              <a:gd name="connsiteY7" fmla="*/ 2663 h 9041962"/>
              <a:gd name="connsiteX8" fmla="*/ 16616971 w 16647120"/>
              <a:gd name="connsiteY8" fmla="*/ 1538945 h 9041962"/>
              <a:gd name="connsiteX9" fmla="*/ 16646071 w 16647120"/>
              <a:gd name="connsiteY9" fmla="*/ 4877603 h 9041962"/>
              <a:gd name="connsiteX10" fmla="*/ 16646771 w 16647120"/>
              <a:gd name="connsiteY10" fmla="*/ 5386890 h 9041962"/>
              <a:gd name="connsiteX11" fmla="*/ 16635197 w 16647120"/>
              <a:gd name="connsiteY11" fmla="*/ 7702586 h 9041962"/>
              <a:gd name="connsiteX12" fmla="*/ 16635199 w 16647120"/>
              <a:gd name="connsiteY12" fmla="*/ 7702586 h 9041962"/>
              <a:gd name="connsiteX13" fmla="*/ 16635199 w 16647120"/>
              <a:gd name="connsiteY13" fmla="*/ 9041962 h 9041962"/>
              <a:gd name="connsiteX0" fmla="*/ 16635199 w 16646771"/>
              <a:gd name="connsiteY0" fmla="*/ 9041962 h 9041962"/>
              <a:gd name="connsiteX1" fmla="*/ 2 w 16646771"/>
              <a:gd name="connsiteY1" fmla="*/ 9041962 h 9041962"/>
              <a:gd name="connsiteX2" fmla="*/ 2 w 16646771"/>
              <a:gd name="connsiteY2" fmla="*/ 7705756 h 9041962"/>
              <a:gd name="connsiteX3" fmla="*/ 0 w 16646771"/>
              <a:gd name="connsiteY3" fmla="*/ 7705756 h 9041962"/>
              <a:gd name="connsiteX4" fmla="*/ 0 w 16646771"/>
              <a:gd name="connsiteY4" fmla="*/ 27020 h 9041962"/>
              <a:gd name="connsiteX5" fmla="*/ 924138 w 16646771"/>
              <a:gd name="connsiteY5" fmla="*/ 27020 h 9041962"/>
              <a:gd name="connsiteX6" fmla="*/ 924138 w 16646771"/>
              <a:gd name="connsiteY6" fmla="*/ 27021 h 9041962"/>
              <a:gd name="connsiteX7" fmla="*/ 15013675 w 16646771"/>
              <a:gd name="connsiteY7" fmla="*/ 2663 h 9041962"/>
              <a:gd name="connsiteX8" fmla="*/ 16616971 w 16646771"/>
              <a:gd name="connsiteY8" fmla="*/ 1538945 h 9041962"/>
              <a:gd name="connsiteX9" fmla="*/ 16646071 w 16646771"/>
              <a:gd name="connsiteY9" fmla="*/ 4877603 h 9041962"/>
              <a:gd name="connsiteX10" fmla="*/ 16646771 w 16646771"/>
              <a:gd name="connsiteY10" fmla="*/ 5386890 h 9041962"/>
              <a:gd name="connsiteX11" fmla="*/ 16635197 w 16646771"/>
              <a:gd name="connsiteY11" fmla="*/ 7702586 h 9041962"/>
              <a:gd name="connsiteX12" fmla="*/ 16635199 w 16646771"/>
              <a:gd name="connsiteY12" fmla="*/ 7702586 h 9041962"/>
              <a:gd name="connsiteX13" fmla="*/ 16635199 w 16646771"/>
              <a:gd name="connsiteY13" fmla="*/ 9041962 h 9041962"/>
              <a:gd name="connsiteX0" fmla="*/ 16635199 w 16663650"/>
              <a:gd name="connsiteY0" fmla="*/ 9042000 h 9042000"/>
              <a:gd name="connsiteX1" fmla="*/ 2 w 16663650"/>
              <a:gd name="connsiteY1" fmla="*/ 9042000 h 9042000"/>
              <a:gd name="connsiteX2" fmla="*/ 2 w 16663650"/>
              <a:gd name="connsiteY2" fmla="*/ 7705794 h 9042000"/>
              <a:gd name="connsiteX3" fmla="*/ 0 w 16663650"/>
              <a:gd name="connsiteY3" fmla="*/ 7705794 h 9042000"/>
              <a:gd name="connsiteX4" fmla="*/ 0 w 16663650"/>
              <a:gd name="connsiteY4" fmla="*/ 27058 h 9042000"/>
              <a:gd name="connsiteX5" fmla="*/ 924138 w 16663650"/>
              <a:gd name="connsiteY5" fmla="*/ 27058 h 9042000"/>
              <a:gd name="connsiteX6" fmla="*/ 924138 w 16663650"/>
              <a:gd name="connsiteY6" fmla="*/ 27059 h 9042000"/>
              <a:gd name="connsiteX7" fmla="*/ 15013675 w 16663650"/>
              <a:gd name="connsiteY7" fmla="*/ 2701 h 9042000"/>
              <a:gd name="connsiteX8" fmla="*/ 16663270 w 16663650"/>
              <a:gd name="connsiteY8" fmla="*/ 1527408 h 9042000"/>
              <a:gd name="connsiteX9" fmla="*/ 16646071 w 16663650"/>
              <a:gd name="connsiteY9" fmla="*/ 4877641 h 9042000"/>
              <a:gd name="connsiteX10" fmla="*/ 16646771 w 16663650"/>
              <a:gd name="connsiteY10" fmla="*/ 5386928 h 9042000"/>
              <a:gd name="connsiteX11" fmla="*/ 16635197 w 16663650"/>
              <a:gd name="connsiteY11" fmla="*/ 7702624 h 9042000"/>
              <a:gd name="connsiteX12" fmla="*/ 16635199 w 16663650"/>
              <a:gd name="connsiteY12" fmla="*/ 7702624 h 9042000"/>
              <a:gd name="connsiteX13" fmla="*/ 16635199 w 16663650"/>
              <a:gd name="connsiteY13" fmla="*/ 9042000 h 90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663650" h="9042000">
                <a:moveTo>
                  <a:pt x="16635199" y="9042000"/>
                </a:moveTo>
                <a:lnTo>
                  <a:pt x="2" y="9042000"/>
                </a:lnTo>
                <a:lnTo>
                  <a:pt x="2" y="7705794"/>
                </a:lnTo>
                <a:lnTo>
                  <a:pt x="0" y="7705794"/>
                </a:lnTo>
                <a:lnTo>
                  <a:pt x="0" y="27058"/>
                </a:lnTo>
                <a:lnTo>
                  <a:pt x="924138" y="27058"/>
                </a:lnTo>
                <a:lnTo>
                  <a:pt x="924138" y="27059"/>
                </a:lnTo>
                <a:lnTo>
                  <a:pt x="15013675" y="2701"/>
                </a:lnTo>
                <a:cubicBezTo>
                  <a:pt x="15932344" y="-51481"/>
                  <a:pt x="16683004" y="718191"/>
                  <a:pt x="16663270" y="1527408"/>
                </a:cubicBezTo>
                <a:cubicBezTo>
                  <a:pt x="16660772" y="2831106"/>
                  <a:pt x="16648569" y="3585518"/>
                  <a:pt x="16646071" y="4877641"/>
                </a:cubicBezTo>
                <a:cubicBezTo>
                  <a:pt x="16646304" y="5047403"/>
                  <a:pt x="16646538" y="5217166"/>
                  <a:pt x="16646771" y="5386928"/>
                </a:cubicBezTo>
                <a:lnTo>
                  <a:pt x="16635197" y="7702624"/>
                </a:lnTo>
                <a:lnTo>
                  <a:pt x="16635199" y="7702624"/>
                </a:lnTo>
                <a:lnTo>
                  <a:pt x="16635199" y="9042000"/>
                </a:lnTo>
                <a:close/>
              </a:path>
            </a:pathLst>
          </a:custGeom>
          <a:solidFill>
            <a:srgbClr val="80C3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sz="1302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5F2FDCB-E6A7-D256-8955-8892963E64D2}"/>
              </a:ext>
            </a:extLst>
          </p:cNvPr>
          <p:cNvSpPr txBox="1"/>
          <p:nvPr/>
        </p:nvSpPr>
        <p:spPr>
          <a:xfrm>
            <a:off x="2832286" y="581764"/>
            <a:ext cx="3847340" cy="6409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pt-BR" sz="4165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GENDA</a:t>
            </a:r>
            <a:endParaRPr lang="pt-BR" sz="2222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B939424E-0C1D-16A9-8108-531726EA05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36157" y="979033"/>
            <a:ext cx="523009" cy="523009"/>
          </a:xfrm>
          <a:prstGeom prst="rect">
            <a:avLst/>
          </a:prstGeom>
        </p:spPr>
      </p:pic>
      <p:cxnSp>
        <p:nvCxnSpPr>
          <p:cNvPr id="7" name="Conector Reto 35">
            <a:extLst>
              <a:ext uri="{FF2B5EF4-FFF2-40B4-BE49-F238E27FC236}">
                <a16:creationId xmlns:a16="http://schemas.microsoft.com/office/drawing/2014/main" id="{A0522DE0-81D8-3069-B05E-507DC0875D21}"/>
              </a:ext>
            </a:extLst>
          </p:cNvPr>
          <p:cNvCxnSpPr>
            <a:cxnSpLocks/>
          </p:cNvCxnSpPr>
          <p:nvPr/>
        </p:nvCxnSpPr>
        <p:spPr>
          <a:xfrm flipH="1">
            <a:off x="8984204" y="4453203"/>
            <a:ext cx="3240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Arco 7">
            <a:extLst>
              <a:ext uri="{FF2B5EF4-FFF2-40B4-BE49-F238E27FC236}">
                <a16:creationId xmlns:a16="http://schemas.microsoft.com/office/drawing/2014/main" id="{4A48817F-A6DE-95AD-E43E-49C7F4EC2EF9}"/>
              </a:ext>
            </a:extLst>
          </p:cNvPr>
          <p:cNvSpPr/>
          <p:nvPr/>
        </p:nvSpPr>
        <p:spPr>
          <a:xfrm rot="10800000">
            <a:off x="7909340" y="2299716"/>
            <a:ext cx="2153486" cy="2153487"/>
          </a:xfrm>
          <a:prstGeom prst="arc">
            <a:avLst>
              <a:gd name="adj1" fmla="val 16200000"/>
              <a:gd name="adj2" fmla="val 5423995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1302" dirty="0"/>
          </a:p>
        </p:txBody>
      </p:sp>
      <p:cxnSp>
        <p:nvCxnSpPr>
          <p:cNvPr id="9" name="Conector Reto 37">
            <a:extLst>
              <a:ext uri="{FF2B5EF4-FFF2-40B4-BE49-F238E27FC236}">
                <a16:creationId xmlns:a16="http://schemas.microsoft.com/office/drawing/2014/main" id="{8078E4D6-46B5-6351-D058-A82046AA00CA}"/>
              </a:ext>
            </a:extLst>
          </p:cNvPr>
          <p:cNvCxnSpPr>
            <a:cxnSpLocks/>
          </p:cNvCxnSpPr>
          <p:nvPr/>
        </p:nvCxnSpPr>
        <p:spPr>
          <a:xfrm rot="10800000">
            <a:off x="8988211" y="2299716"/>
            <a:ext cx="17302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Arco 9">
            <a:extLst>
              <a:ext uri="{FF2B5EF4-FFF2-40B4-BE49-F238E27FC236}">
                <a16:creationId xmlns:a16="http://schemas.microsoft.com/office/drawing/2014/main" id="{9CF3521C-6395-BD5F-2E6D-BAF6B50A8F7E}"/>
              </a:ext>
            </a:extLst>
          </p:cNvPr>
          <p:cNvSpPr/>
          <p:nvPr/>
        </p:nvSpPr>
        <p:spPr>
          <a:xfrm>
            <a:off x="10168700" y="1192550"/>
            <a:ext cx="1107166" cy="1107166"/>
          </a:xfrm>
          <a:prstGeom prst="arc">
            <a:avLst>
              <a:gd name="adj1" fmla="val 16200000"/>
              <a:gd name="adj2" fmla="val 5423995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1302" dirty="0"/>
          </a:p>
        </p:txBody>
      </p:sp>
      <p:cxnSp>
        <p:nvCxnSpPr>
          <p:cNvPr id="11" name="Conector Reto 39">
            <a:extLst>
              <a:ext uri="{FF2B5EF4-FFF2-40B4-BE49-F238E27FC236}">
                <a16:creationId xmlns:a16="http://schemas.microsoft.com/office/drawing/2014/main" id="{6232DE98-A8FB-7076-5EEC-63F3732C7066}"/>
              </a:ext>
            </a:extLst>
          </p:cNvPr>
          <p:cNvCxnSpPr>
            <a:cxnSpLocks/>
          </p:cNvCxnSpPr>
          <p:nvPr/>
        </p:nvCxnSpPr>
        <p:spPr>
          <a:xfrm flipH="1">
            <a:off x="2659166" y="1188573"/>
            <a:ext cx="806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to 39">
            <a:extLst>
              <a:ext uri="{FF2B5EF4-FFF2-40B4-BE49-F238E27FC236}">
                <a16:creationId xmlns:a16="http://schemas.microsoft.com/office/drawing/2014/main" id="{8D64C9E9-A799-CD8A-AA8B-F6FECB7321BA}"/>
              </a:ext>
            </a:extLst>
          </p:cNvPr>
          <p:cNvCxnSpPr>
            <a:cxnSpLocks/>
          </p:cNvCxnSpPr>
          <p:nvPr/>
        </p:nvCxnSpPr>
        <p:spPr>
          <a:xfrm flipH="1">
            <a:off x="-18379" y="1194286"/>
            <a:ext cx="2270146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7AB7744D-41FD-6211-89E8-61B76742CC36}"/>
              </a:ext>
            </a:extLst>
          </p:cNvPr>
          <p:cNvSpPr txBox="1"/>
          <p:nvPr/>
        </p:nvSpPr>
        <p:spPr>
          <a:xfrm>
            <a:off x="1945177" y="1748568"/>
            <a:ext cx="5964161" cy="40934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t-BR" sz="3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1</a:t>
            </a:r>
            <a:r>
              <a:rPr lang="pt-BR" sz="3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Visão Geral da Solução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t-BR" sz="3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2</a:t>
            </a:r>
            <a:r>
              <a:rPr lang="pt-BR" sz="3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etalhamento do Produto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t-BR" sz="3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3</a:t>
            </a:r>
            <a:r>
              <a:rPr lang="pt-BR" sz="3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valiação de Mercado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t-BR" sz="3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4</a:t>
            </a:r>
            <a:r>
              <a:rPr lang="pt-BR" sz="3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Indicadores de Resultados e Checkpoints de Projeto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t-BR" sz="3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5</a:t>
            </a:r>
            <a:r>
              <a:rPr lang="pt-BR" sz="3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Cronograma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t-BR" sz="3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6</a:t>
            </a:r>
            <a:r>
              <a:rPr lang="pt-BR" sz="3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Custos e Contrapartidas</a:t>
            </a:r>
          </a:p>
        </p:txBody>
      </p:sp>
      <p:sp>
        <p:nvSpPr>
          <p:cNvPr id="14" name="Retângulo com Único Canto Arredondado 26">
            <a:extLst>
              <a:ext uri="{FF2B5EF4-FFF2-40B4-BE49-F238E27FC236}">
                <a16:creationId xmlns:a16="http://schemas.microsoft.com/office/drawing/2014/main" id="{F505DD80-B83F-52B0-E51D-1450B42173B7}"/>
              </a:ext>
            </a:extLst>
          </p:cNvPr>
          <p:cNvSpPr/>
          <p:nvPr/>
        </p:nvSpPr>
        <p:spPr>
          <a:xfrm flipH="1">
            <a:off x="10735395" y="5659864"/>
            <a:ext cx="1456605" cy="1198136"/>
          </a:xfrm>
          <a:prstGeom prst="round1Rect">
            <a:avLst>
              <a:gd name="adj" fmla="val 322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50"/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F519320F-C16F-B448-1AA8-5EF904A7F37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720" y="5919862"/>
            <a:ext cx="862542" cy="633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8147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38F99C-5A43-9E64-FBBF-AD5A499C0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8F99C-5A43-9E64-FBBF-AD5A499C0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05507F4-E351-B93B-BD52-A2DD35DA6C97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descrevendo diferencial/aspecto principal da solução frente ao problema a ser enfrentado</a:t>
            </a:r>
            <a:endParaRPr lang="en-US" sz="2222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CaixaDeTexto 10">
            <a:extLst>
              <a:ext uri="{FF2B5EF4-FFF2-40B4-BE49-F238E27FC236}">
                <a16:creationId xmlns:a16="http://schemas.microsoft.com/office/drawing/2014/main" id="{9A9B7F35-4120-B8A1-9CED-DC9D5BE43BF0}"/>
              </a:ext>
            </a:extLst>
          </p:cNvPr>
          <p:cNvSpPr txBox="1"/>
          <p:nvPr/>
        </p:nvSpPr>
        <p:spPr>
          <a:xfrm>
            <a:off x="650222" y="1174353"/>
            <a:ext cx="10528493" cy="31624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ormações </a:t>
            </a:r>
            <a:r>
              <a:rPr lang="pt-BR" sz="2000" b="1" dirty="0">
                <a:solidFill>
                  <a:srgbClr val="F58A1F"/>
                </a:solidFill>
                <a:latin typeface="Tahoma"/>
              </a:rPr>
              <a:t>n</a:t>
            </a:r>
            <a:r>
              <a:rPr kumimoji="0" 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cessárias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nesta seção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texto em que o projeto está inserido – descrição e quantificação do cenário “as 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s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” e do desafio que o projeto se propõe a solucionar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bjetivos – o que se espera desenvolver e como atende as respectivas motivações</a:t>
            </a:r>
          </a:p>
          <a:p>
            <a:pPr marL="180000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scopo – o que é o projeto e o caminho de como será feito</a:t>
            </a:r>
          </a:p>
          <a:p>
            <a:pPr marL="180000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squemático (versão mais visual) da solução aplicada em cenário real</a:t>
            </a:r>
          </a:p>
          <a:p>
            <a:pPr marL="180000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sultados e benefícios esperados – qual a potencial aplicação da solução? Há potencial de mercado?</a:t>
            </a:r>
          </a:p>
        </p:txBody>
      </p:sp>
    </p:spTree>
    <p:extLst>
      <p:ext uri="{BB962C8B-B14F-4D97-AF65-F5344CB8AC3E}">
        <p14:creationId xmlns:p14="http://schemas.microsoft.com/office/powerpoint/2010/main" val="22153456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38F99C-5A43-9E64-FBBF-AD5A499C0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8F99C-5A43-9E64-FBBF-AD5A499C0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05507F4-E351-B93B-BD52-A2DD35DA6C97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destacando principais aspectos do produto</a:t>
            </a:r>
            <a:endParaRPr lang="en-US" sz="2222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CaixaDeTexto 10">
            <a:extLst>
              <a:ext uri="{FF2B5EF4-FFF2-40B4-BE49-F238E27FC236}">
                <a16:creationId xmlns:a16="http://schemas.microsoft.com/office/drawing/2014/main" id="{9A9B7F35-4120-B8A1-9CED-DC9D5BE43BF0}"/>
              </a:ext>
            </a:extLst>
          </p:cNvPr>
          <p:cNvSpPr txBox="1"/>
          <p:nvPr/>
        </p:nvSpPr>
        <p:spPr>
          <a:xfrm>
            <a:off x="650222" y="1174353"/>
            <a:ext cx="10528493" cy="4526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ormações </a:t>
            </a:r>
            <a:r>
              <a:rPr lang="pt-BR" sz="2000" b="1" dirty="0">
                <a:solidFill>
                  <a:srgbClr val="F58A1F"/>
                </a:solidFill>
                <a:latin typeface="Tahoma"/>
              </a:rPr>
              <a:t>n</a:t>
            </a:r>
            <a:r>
              <a:rPr kumimoji="0" 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cessárias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nesta seção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scrição do principal produto do projeto (ex.: metodologia, sistema, plataforma, dispositivo), detalhando o que esperar de maneira tangível ao final do projeto;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 que o produto pretende fazer? Quais são os problemas que ele resolverá? Quais são os benefícios que ele oferecerá aos usuários?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úblico-alvo: Quem vai usar o produto? Quais são suas necessidades e desejos?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aracterísticas: Quais são as características e funcionalidades do produto? Como ele vai se comparar aos produtos concorrentes? 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eço: Quanto vai custar o produto? Ele é acessível para o público-alvo?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dirty="0">
                <a:solidFill>
                  <a:srgbClr val="636463"/>
                </a:solidFill>
                <a:latin typeface="Tahoma"/>
              </a:rPr>
              <a:t>Maturidade Tecnológica: qual o TRL inicial do produto? Qual a expectativa de atingimento? Como se dará a evolução do TRL ao longo do projeto?</a:t>
            </a:r>
            <a:endParaRPr kumimoji="0" lang="pt-BR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endParaRPr kumimoji="0" lang="pt-BR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81023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38F99C-5A43-9E64-FBBF-AD5A499C0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8F99C-5A43-9E64-FBBF-AD5A499C0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05507F4-E351-B93B-BD52-A2DD35DA6C97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contextualizando o cenário de mercado e o diferencial oferecido pelo produto</a:t>
            </a:r>
            <a:endParaRPr lang="en-US" sz="2222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CaixaDeTexto 10">
            <a:extLst>
              <a:ext uri="{FF2B5EF4-FFF2-40B4-BE49-F238E27FC236}">
                <a16:creationId xmlns:a16="http://schemas.microsoft.com/office/drawing/2014/main" id="{9A9B7F35-4120-B8A1-9CED-DC9D5BE43BF0}"/>
              </a:ext>
            </a:extLst>
          </p:cNvPr>
          <p:cNvSpPr txBox="1"/>
          <p:nvPr/>
        </p:nvSpPr>
        <p:spPr>
          <a:xfrm>
            <a:off x="650222" y="1174353"/>
            <a:ext cx="10528493" cy="46551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ormações </a:t>
            </a:r>
            <a:r>
              <a:rPr lang="pt-BR" sz="2000" b="1" dirty="0">
                <a:solidFill>
                  <a:srgbClr val="F58A1F"/>
                </a:solidFill>
                <a:latin typeface="Tahoma"/>
              </a:rPr>
              <a:t>n</a:t>
            </a:r>
            <a:r>
              <a:rPr kumimoji="0" 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cessárias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nesta seção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enário externo e oportunidades técnico-científicas: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pt-BR" dirty="0">
                <a:solidFill>
                  <a:srgbClr val="636463"/>
                </a:solidFill>
                <a:latin typeface="Tahoma"/>
              </a:rPr>
              <a:t>B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ve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relação/menção de patentes, produtos existentes no mercado, produções científicas de elevado impacto que também atendam às motivações do projeto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pt-BR" dirty="0">
                <a:solidFill>
                  <a:srgbClr val="636463"/>
                </a:solidFill>
                <a:latin typeface="Tahoma"/>
              </a:rPr>
              <a:t>Abertura sobre o que pode ser melhorado e quais as principais tendências do mercado no tema</a:t>
            </a:r>
            <a:endParaRPr kumimoji="0" lang="pt-BR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iferencial de mercado do produto e contribuições técnico-científicas: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o o produto atende a desafios ainda não contemplados pelas soluções de mercado?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o a abordagem proposta difere ou melhora as abordagens anteriores (considere métodos experimentais, análises estatísticas, modelos teóricos, estudos de caso)?</a:t>
            </a:r>
          </a:p>
          <a:p>
            <a:pPr marL="180000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atenteabilidade e potencial de mercado: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pt-BR" dirty="0">
                <a:solidFill>
                  <a:srgbClr val="636463"/>
                </a:solidFill>
                <a:latin typeface="Tahoma"/>
              </a:rPr>
              <a:t>Destacar a parte do projeto passível de propriedade intelectual e descrever o tipo de pedido ou registro em questão</a:t>
            </a:r>
          </a:p>
        </p:txBody>
      </p:sp>
    </p:spTree>
    <p:extLst>
      <p:ext uri="{BB962C8B-B14F-4D97-AF65-F5344CB8AC3E}">
        <p14:creationId xmlns:p14="http://schemas.microsoft.com/office/powerpoint/2010/main" val="7239119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38F99C-5A43-9E64-FBBF-AD5A499C0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8F99C-5A43-9E64-FBBF-AD5A499C0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05507F4-E351-B93B-BD52-A2DD35DA6C97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destacando os principais indicadores e </a:t>
            </a:r>
            <a:r>
              <a:rPr lang="pt-BR" sz="2222" b="1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eckpoints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o projeto</a:t>
            </a:r>
            <a:endParaRPr lang="en-US" sz="2222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CaixaDeTexto 10">
            <a:extLst>
              <a:ext uri="{FF2B5EF4-FFF2-40B4-BE49-F238E27FC236}">
                <a16:creationId xmlns:a16="http://schemas.microsoft.com/office/drawing/2014/main" id="{9A9B7F35-4120-B8A1-9CED-DC9D5BE43BF0}"/>
              </a:ext>
            </a:extLst>
          </p:cNvPr>
          <p:cNvSpPr txBox="1"/>
          <p:nvPr/>
        </p:nvSpPr>
        <p:spPr>
          <a:xfrm>
            <a:off x="650222" y="1174353"/>
            <a:ext cx="10528493" cy="39934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ormações </a:t>
            </a:r>
            <a:r>
              <a:rPr lang="pt-BR" sz="2000" b="1" dirty="0">
                <a:solidFill>
                  <a:srgbClr val="F58A1F"/>
                </a:solidFill>
                <a:latin typeface="Tahoma"/>
              </a:rPr>
              <a:t>n</a:t>
            </a:r>
            <a:r>
              <a:rPr kumimoji="0" 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cessárias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nesta seção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s indicadores de resultados do projeto permitem acompanhar o andamento do desenvolvimento e dar subsídio às análises e tomadas de decisão nos </a:t>
            </a:r>
            <a:r>
              <a:rPr kumimoji="0" lang="pt-BR" i="1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heckpoints</a:t>
            </a:r>
            <a:r>
              <a:rPr lang="pt-BR" dirty="0">
                <a:solidFill>
                  <a:srgbClr val="636463"/>
                </a:solidFill>
                <a:latin typeface="Tahoma"/>
              </a:rPr>
              <a:t> – sequência de atividades e frentes de desenvolvimento, internalização do produto e </a:t>
            </a:r>
            <a:r>
              <a:rPr lang="pt-BR" i="1" dirty="0">
                <a:solidFill>
                  <a:srgbClr val="636463"/>
                </a:solidFill>
                <a:latin typeface="Tahoma"/>
              </a:rPr>
              <a:t>follow-up</a:t>
            </a:r>
            <a:r>
              <a:rPr lang="pt-BR" dirty="0">
                <a:solidFill>
                  <a:srgbClr val="636463"/>
                </a:solidFill>
                <a:latin typeface="Tahoma"/>
              </a:rPr>
              <a:t> de seu potencial retorno financeiro;</a:t>
            </a:r>
            <a:endParaRPr kumimoji="0" lang="pt-BR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screva e elenque os indicadores de resultados propostos;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siderando o cenário “</a:t>
            </a:r>
            <a:r>
              <a:rPr kumimoji="0" lang="pt-BR" i="1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s </a:t>
            </a:r>
            <a:r>
              <a:rPr kumimoji="0" lang="pt-BR" i="1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s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”, calcule o valor base dos indicadores como ponto de partida para avaliação do impacto da solução;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rganize os </a:t>
            </a:r>
            <a:r>
              <a:rPr kumimoji="0" lang="pt-BR" i="1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heckpoints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de projeto descrevendo as 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croetapas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envolvidas, os indicadores considerados e as decisões a serem tomadas em cada caso;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rrelacione os indicadores e os </a:t>
            </a:r>
            <a:r>
              <a:rPr kumimoji="0" lang="pt-BR" i="1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heckpoints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com a evolução de TRL do produto ao longo do desenvolvimento do projeto.</a:t>
            </a:r>
          </a:p>
        </p:txBody>
      </p:sp>
    </p:spTree>
    <p:extLst>
      <p:ext uri="{BB962C8B-B14F-4D97-AF65-F5344CB8AC3E}">
        <p14:creationId xmlns:p14="http://schemas.microsoft.com/office/powerpoint/2010/main" val="28236225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38F99C-5A43-9E64-FBBF-AD5A499C0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8F99C-5A43-9E64-FBBF-AD5A499C0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05507F4-E351-B93B-BD52-A2DD35DA6C97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destacando os principais marcos de entrega de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VPs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e </a:t>
            </a:r>
            <a:r>
              <a:rPr lang="pt-BR" sz="2222" b="1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eckpoints</a:t>
            </a:r>
            <a:endParaRPr lang="en-US" sz="2222" b="1" i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CaixaDeTexto 10">
            <a:extLst>
              <a:ext uri="{FF2B5EF4-FFF2-40B4-BE49-F238E27FC236}">
                <a16:creationId xmlns:a16="http://schemas.microsoft.com/office/drawing/2014/main" id="{9A9B7F35-4120-B8A1-9CED-DC9D5BE43BF0}"/>
              </a:ext>
            </a:extLst>
          </p:cNvPr>
          <p:cNvSpPr txBox="1"/>
          <p:nvPr/>
        </p:nvSpPr>
        <p:spPr>
          <a:xfrm>
            <a:off x="650222" y="1174353"/>
            <a:ext cx="10528493" cy="3418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ormações </a:t>
            </a:r>
            <a:r>
              <a:rPr lang="pt-BR" sz="2000" b="1" dirty="0">
                <a:solidFill>
                  <a:srgbClr val="F58A1F"/>
                </a:solidFill>
                <a:latin typeface="Tahoma"/>
              </a:rPr>
              <a:t>n</a:t>
            </a:r>
            <a:r>
              <a:rPr kumimoji="0" 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cessárias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nesta seção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ronograma de 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croetapas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(template no slide a seguir);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o garantir as 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croetapas</a:t>
            </a:r>
            <a:r>
              <a:rPr lang="pt-BR" dirty="0">
                <a:solidFill>
                  <a:srgbClr val="636463"/>
                </a:solidFill>
                <a:latin typeface="Tahoma"/>
              </a:rPr>
              <a:t>, ex.:</a:t>
            </a:r>
            <a:endParaRPr kumimoji="0" lang="pt-BR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(i) etapas de desenvolvimento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(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i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) tipos de teste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(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ii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) validação dos entregáveis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Qual a metodologia/estratégia será aplicada em cada 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croetapa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?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Quais premissas foram assumidas para o desenvolvimento dos entregáveis?</a:t>
            </a:r>
          </a:p>
        </p:txBody>
      </p:sp>
    </p:spTree>
    <p:extLst>
      <p:ext uri="{BB962C8B-B14F-4D97-AF65-F5344CB8AC3E}">
        <p14:creationId xmlns:p14="http://schemas.microsoft.com/office/powerpoint/2010/main" val="24490497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38F99C-5A43-9E64-FBBF-AD5A499C0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8F99C-5A43-9E64-FBBF-AD5A499C0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05507F4-E351-B93B-BD52-A2DD35DA6C97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destacando os principais marcos de entrega de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VPs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e </a:t>
            </a:r>
            <a:r>
              <a:rPr lang="pt-BR" sz="2222" b="1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eckpoints</a:t>
            </a:r>
            <a:endParaRPr lang="en-US" sz="2222" b="1" i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2" name="Tabela 8">
            <a:extLst>
              <a:ext uri="{FF2B5EF4-FFF2-40B4-BE49-F238E27FC236}">
                <a16:creationId xmlns:a16="http://schemas.microsoft.com/office/drawing/2014/main" id="{0B8DABC8-83DB-1A31-1DA2-7E2A6D040A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5604406"/>
              </p:ext>
            </p:extLst>
          </p:nvPr>
        </p:nvGraphicFramePr>
        <p:xfrm>
          <a:off x="11999" y="979530"/>
          <a:ext cx="12168000" cy="583200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23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24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334872396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520619177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1898367627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3300886850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454335406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4222468120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625176363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70948868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700744389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566152329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871788245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3603386227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609161637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3163438423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467376861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4151112596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4098288872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1612365829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41082466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3940229097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4253155796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61578149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3429148587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980174906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noProof="0" dirty="0" err="1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tividade</a:t>
                      </a:r>
                      <a:r>
                        <a:rPr lang="en-US" sz="14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/</a:t>
                      </a:r>
                      <a:r>
                        <a:rPr lang="en-US" sz="1400" b="1" i="0" u="none" strike="noStrike" noProof="0" dirty="0" err="1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ês</a:t>
                      </a:r>
                      <a:endParaRPr lang="en-US" sz="1400" b="1" i="0" u="none" strike="noStrike" noProof="0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3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7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9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3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25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26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27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28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29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30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33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34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35</a:t>
                      </a:r>
                      <a:endParaRPr lang="pt-BR" sz="1100" dirty="0"/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36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37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38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39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40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43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44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45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46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47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48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400" b="0" i="0" u="none" strike="noStrike" kern="1200" baseline="0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..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400" b="0" i="0" u="none" strike="noStrike" kern="1200" baseline="0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..</a:t>
                      </a:r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400" b="0" i="0" u="none" strike="noStrike" kern="1200" baseline="0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..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400" b="0" i="0" u="none" strike="noStrike" kern="1200" baseline="0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..</a:t>
                      </a:r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400" b="0" i="0" u="none" strike="noStrike" kern="1200" baseline="0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..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400" b="0" i="0" u="none" strike="noStrike" kern="1200" baseline="0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..</a:t>
                      </a:r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400" b="0" i="0" u="none" strike="noStrike" kern="1200" baseline="0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..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400" b="0" i="0" u="none" strike="noStrike" kern="1200" baseline="0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..</a:t>
                      </a:r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4" name="Estrela de 5 pontas 9">
            <a:extLst>
              <a:ext uri="{FF2B5EF4-FFF2-40B4-BE49-F238E27FC236}">
                <a16:creationId xmlns:a16="http://schemas.microsoft.com/office/drawing/2014/main" id="{E1F47231-8780-5BAE-2C77-EFE5F0AD42D4}"/>
              </a:ext>
            </a:extLst>
          </p:cNvPr>
          <p:cNvSpPr/>
          <p:nvPr/>
        </p:nvSpPr>
        <p:spPr>
          <a:xfrm>
            <a:off x="7722148" y="2816066"/>
            <a:ext cx="252000" cy="252000"/>
          </a:xfrm>
          <a:prstGeom prst="star5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Estrela de 5 pontas 9">
            <a:extLst>
              <a:ext uri="{FF2B5EF4-FFF2-40B4-BE49-F238E27FC236}">
                <a16:creationId xmlns:a16="http://schemas.microsoft.com/office/drawing/2014/main" id="{2E2FC03C-6927-0A7E-7BE9-D03A95DD511A}"/>
              </a:ext>
            </a:extLst>
          </p:cNvPr>
          <p:cNvSpPr/>
          <p:nvPr/>
        </p:nvSpPr>
        <p:spPr>
          <a:xfrm>
            <a:off x="10216773" y="3979041"/>
            <a:ext cx="252000" cy="252000"/>
          </a:xfrm>
          <a:prstGeom prst="star5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Estrela de 5 pontas 9">
            <a:extLst>
              <a:ext uri="{FF2B5EF4-FFF2-40B4-BE49-F238E27FC236}">
                <a16:creationId xmlns:a16="http://schemas.microsoft.com/office/drawing/2014/main" id="{46A11803-E479-2BDA-732D-2B3D8C4E7828}"/>
              </a:ext>
            </a:extLst>
          </p:cNvPr>
          <p:cNvSpPr/>
          <p:nvPr/>
        </p:nvSpPr>
        <p:spPr>
          <a:xfrm>
            <a:off x="10944471" y="5168648"/>
            <a:ext cx="252000" cy="252000"/>
          </a:xfrm>
          <a:prstGeom prst="star5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1">
            <a:extLst>
              <a:ext uri="{FF2B5EF4-FFF2-40B4-BE49-F238E27FC236}">
                <a16:creationId xmlns:a16="http://schemas.microsoft.com/office/drawing/2014/main" id="{14CF9FE5-4C13-165E-F439-3968074C899E}"/>
              </a:ext>
            </a:extLst>
          </p:cNvPr>
          <p:cNvSpPr/>
          <p:nvPr/>
        </p:nvSpPr>
        <p:spPr>
          <a:xfrm>
            <a:off x="4002257" y="3437849"/>
            <a:ext cx="4343721" cy="1391845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rgbClr val="FF0000"/>
                </a:solidFill>
              </a:rPr>
              <a:t>Macro </a:t>
            </a:r>
            <a:r>
              <a:rPr lang="en-US" sz="2000" dirty="0" err="1">
                <a:solidFill>
                  <a:srgbClr val="FF0000"/>
                </a:solidFill>
              </a:rPr>
              <a:t>cronograma</a:t>
            </a:r>
            <a:r>
              <a:rPr lang="en-US" sz="2000" dirty="0">
                <a:solidFill>
                  <a:srgbClr val="FF0000"/>
                </a:solidFill>
              </a:rPr>
              <a:t> das </a:t>
            </a:r>
            <a:r>
              <a:rPr lang="en-US" sz="2000" dirty="0" err="1">
                <a:solidFill>
                  <a:srgbClr val="FF0000"/>
                </a:solidFill>
              </a:rPr>
              <a:t>principais</a:t>
            </a:r>
            <a:r>
              <a:rPr lang="en-US" sz="2000" dirty="0">
                <a:solidFill>
                  <a:srgbClr val="FF0000"/>
                </a:solidFill>
              </a:rPr>
              <a:t> </a:t>
            </a:r>
            <a:r>
              <a:rPr lang="en-US" sz="2000" dirty="0" err="1">
                <a:solidFill>
                  <a:srgbClr val="FF0000"/>
                </a:solidFill>
              </a:rPr>
              <a:t>frentes</a:t>
            </a:r>
            <a:r>
              <a:rPr lang="en-US" sz="2000" dirty="0">
                <a:solidFill>
                  <a:srgbClr val="FF0000"/>
                </a:solidFill>
              </a:rPr>
              <a:t> de </a:t>
            </a:r>
            <a:r>
              <a:rPr lang="en-US" sz="2000" dirty="0" err="1">
                <a:solidFill>
                  <a:srgbClr val="FF0000"/>
                </a:solidFill>
              </a:rPr>
              <a:t>desenvolvimento</a:t>
            </a:r>
            <a:r>
              <a:rPr lang="en-US" sz="2000" dirty="0">
                <a:solidFill>
                  <a:srgbClr val="FF0000"/>
                </a:solidFill>
              </a:rPr>
              <a:t> e </a:t>
            </a:r>
            <a:r>
              <a:rPr lang="en-US" sz="2000" dirty="0" err="1">
                <a:solidFill>
                  <a:srgbClr val="FF0000"/>
                </a:solidFill>
              </a:rPr>
              <a:t>entregas</a:t>
            </a:r>
            <a:r>
              <a:rPr lang="en-US" sz="2000" dirty="0">
                <a:solidFill>
                  <a:srgbClr val="FF0000"/>
                </a:solidFill>
              </a:rPr>
              <a:t> do </a:t>
            </a:r>
            <a:r>
              <a:rPr lang="en-US" sz="2000" dirty="0" err="1">
                <a:solidFill>
                  <a:srgbClr val="FF0000"/>
                </a:solidFill>
              </a:rPr>
              <a:t>projeto</a:t>
            </a:r>
            <a:r>
              <a:rPr lang="en-US" sz="2000" dirty="0">
                <a:solidFill>
                  <a:srgbClr val="FF0000"/>
                </a:solidFill>
              </a:rPr>
              <a:t> (</a:t>
            </a:r>
            <a:r>
              <a:rPr lang="en-US" sz="2000" dirty="0" err="1">
                <a:solidFill>
                  <a:srgbClr val="FF0000"/>
                </a:solidFill>
              </a:rPr>
              <a:t>destacadas</a:t>
            </a:r>
            <a:r>
              <a:rPr lang="en-US" sz="2000" dirty="0">
                <a:solidFill>
                  <a:srgbClr val="FF0000"/>
                </a:solidFill>
              </a:rPr>
              <a:t> com </a:t>
            </a:r>
            <a:r>
              <a:rPr lang="en-US" sz="2000" dirty="0" err="1">
                <a:solidFill>
                  <a:srgbClr val="FF0000"/>
                </a:solidFill>
              </a:rPr>
              <a:t>estrela</a:t>
            </a:r>
            <a:r>
              <a:rPr lang="en-US" sz="2000" dirty="0">
                <a:solidFill>
                  <a:srgbClr val="FF0000"/>
                </a:solidFill>
              </a:rPr>
              <a:t>) – </a:t>
            </a:r>
            <a:r>
              <a:rPr lang="en-US" sz="2000" dirty="0" err="1">
                <a:solidFill>
                  <a:srgbClr val="FF0000"/>
                </a:solidFill>
              </a:rPr>
              <a:t>ajuste</a:t>
            </a:r>
            <a:r>
              <a:rPr lang="en-US" sz="2000" dirty="0">
                <a:solidFill>
                  <a:srgbClr val="FF0000"/>
                </a:solidFill>
              </a:rPr>
              <a:t> a </a:t>
            </a:r>
            <a:r>
              <a:rPr lang="en-US" sz="2000" dirty="0" err="1">
                <a:solidFill>
                  <a:srgbClr val="FF0000"/>
                </a:solidFill>
              </a:rPr>
              <a:t>tabela</a:t>
            </a:r>
            <a:r>
              <a:rPr lang="en-US" sz="2000" dirty="0">
                <a:solidFill>
                  <a:srgbClr val="FF0000"/>
                </a:solidFill>
              </a:rPr>
              <a:t> </a:t>
            </a:r>
            <a:r>
              <a:rPr lang="en-US" sz="2000" dirty="0" err="1">
                <a:solidFill>
                  <a:srgbClr val="FF0000"/>
                </a:solidFill>
              </a:rPr>
              <a:t>conforme</a:t>
            </a:r>
            <a:r>
              <a:rPr lang="en-US" sz="2000" dirty="0">
                <a:solidFill>
                  <a:srgbClr val="FF0000"/>
                </a:solidFill>
              </a:rPr>
              <a:t> </a:t>
            </a:r>
            <a:r>
              <a:rPr lang="en-US" sz="2000" dirty="0" err="1">
                <a:solidFill>
                  <a:srgbClr val="FF0000"/>
                </a:solidFill>
              </a:rPr>
              <a:t>duração</a:t>
            </a:r>
            <a:endParaRPr lang="en-US" sz="2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2845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Ck768lRJCy_eOcT44j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05F04C26E5D1D64E811D6EDC93ADF7AD" ma:contentTypeVersion="18" ma:contentTypeDescription="Crie um novo documento." ma:contentTypeScope="" ma:versionID="83565c30e5890fb1929c7209fe2be65e">
  <xsd:schema xmlns:xsd="http://www.w3.org/2001/XMLSchema" xmlns:xs="http://www.w3.org/2001/XMLSchema" xmlns:p="http://schemas.microsoft.com/office/2006/metadata/properties" xmlns:ns1="http://schemas.microsoft.com/sharepoint/v3" xmlns:ns2="8c19c69e-7bc4-4fab-978b-495419bcc32a" xmlns:ns3="0bc69b18-73d2-4256-ac60-b8b95ad1ced7" targetNamespace="http://schemas.microsoft.com/office/2006/metadata/properties" ma:root="true" ma:fieldsID="f4fa225c2f213ad7efc0ae5bb52a1910" ns1:_="" ns2:_="" ns3:_="">
    <xsd:import namespace="http://schemas.microsoft.com/sharepoint/v3"/>
    <xsd:import namespace="8c19c69e-7bc4-4fab-978b-495419bcc32a"/>
    <xsd:import namespace="0bc69b18-73d2-4256-ac60-b8b95ad1ced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1:_ip_UnifiedCompliancePolicyProperties" minOccurs="0"/>
                <xsd:element ref="ns1:_ip_UnifiedCompliancePolicyUIAction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Location" minOccurs="0"/>
                <xsd:element ref="ns2:_Flow_SignoffStatu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0" nillable="true" ma:displayName="Propriedades da Política de Conformidade Unificada" ma:hidden="true" ma:internalName="_ip_UnifiedCompliancePolicyProperties">
      <xsd:simpleType>
        <xsd:restriction base="dms:Note"/>
      </xsd:simpleType>
    </xsd:element>
    <xsd:element name="_ip_UnifiedCompliancePolicyUIAction" ma:index="11" nillable="true" ma:displayName="Ação de Interface do Usuário da Política de Conformidade Unificada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19c69e-7bc4-4fab-978b-495419bcc32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Marcações de imagem" ma:readOnly="false" ma:fieldId="{5cf76f15-5ced-4ddc-b409-7134ff3c332f}" ma:taxonomyMulti="true" ma:sspId="67fe9e97-3f2e-47d6-8eaf-87dccc3eba3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  <xsd:element name="_Flow_SignoffStatus" ma:index="23" nillable="true" ma:displayName="Status de liberação" ma:internalName="Status_x0020_de_x0020_libera_x00e7__x00e3_o">
      <xsd:simpleType>
        <xsd:restriction base="dms:Text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c69b18-73d2-4256-ac60-b8b95ad1ced7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8e2a6088-4b89-4ff8-af64-b005b26881fe}" ma:internalName="TaxCatchAll" ma:showField="CatchAllData" ma:web="0bc69b18-73d2-4256-ac60-b8b95ad1ced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lcf76f155ced4ddcb4097134ff3c332f xmlns="8c19c69e-7bc4-4fab-978b-495419bcc32a">
      <Terms xmlns="http://schemas.microsoft.com/office/infopath/2007/PartnerControls"/>
    </lcf76f155ced4ddcb4097134ff3c332f>
    <_ip_UnifiedCompliancePolicyProperties xmlns="http://schemas.microsoft.com/sharepoint/v3" xsi:nil="true"/>
    <_Flow_SignoffStatus xmlns="8c19c69e-7bc4-4fab-978b-495419bcc32a" xsi:nil="true"/>
    <TaxCatchAll xmlns="0bc69b18-73d2-4256-ac60-b8b95ad1ced7" xsi:nil="true"/>
  </documentManagement>
</p:properties>
</file>

<file path=customXml/itemProps1.xml><?xml version="1.0" encoding="utf-8"?>
<ds:datastoreItem xmlns:ds="http://schemas.openxmlformats.org/officeDocument/2006/customXml" ds:itemID="{AF4C9C88-B3DE-434E-A8C1-4FDDC6ADF31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AA8835D-DCB5-4EE5-A61C-72D969C01D8A}"/>
</file>

<file path=customXml/itemProps3.xml><?xml version="1.0" encoding="utf-8"?>
<ds:datastoreItem xmlns:ds="http://schemas.openxmlformats.org/officeDocument/2006/customXml" ds:itemID="{F0D1E0E2-634A-4D15-B8DA-985C561BB3FB}">
  <ds:schemaRefs>
    <ds:schemaRef ds:uri="http://schemas.microsoft.com/office/2006/metadata/properties"/>
    <ds:schemaRef ds:uri="http://www.w3.org/XML/1998/namespace"/>
    <ds:schemaRef ds:uri="http://schemas.microsoft.com/sharepoint/v3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purl.org/dc/terms/"/>
    <ds:schemaRef ds:uri="http://schemas.microsoft.com/office/infopath/2007/PartnerControls"/>
    <ds:schemaRef ds:uri="0bc69b18-73d2-4256-ac60-b8b95ad1ced7"/>
    <ds:schemaRef ds:uri="8c19c69e-7bc4-4fab-978b-495419bcc32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200</TotalTime>
  <Words>1053</Words>
  <Application>Microsoft Office PowerPoint</Application>
  <PresentationFormat>Widescreen</PresentationFormat>
  <Paragraphs>233</Paragraphs>
  <Slides>12</Slides>
  <Notes>9</Notes>
  <HiddenSlides>1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2</vt:i4>
      </vt:variant>
    </vt:vector>
  </HeadingPairs>
  <TitlesOfParts>
    <vt:vector size="18" baseType="lpstr">
      <vt:lpstr>Arial</vt:lpstr>
      <vt:lpstr>Calibri</vt:lpstr>
      <vt:lpstr>Calibri Light</vt:lpstr>
      <vt:lpstr>Tahoma</vt:lpstr>
      <vt:lpstr>Tema do Office</vt:lpstr>
      <vt:lpstr>Slide do think-cell</vt:lpstr>
      <vt:lpstr>Guia para a Apresentação Executiva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/>
  <cp:lastModifiedBy>Caio Oriente Pereira</cp:lastModifiedBy>
  <cp:revision>11</cp:revision>
  <dcterms:created xsi:type="dcterms:W3CDTF">2023-09-28T19:40:31Z</dcterms:created>
  <dcterms:modified xsi:type="dcterms:W3CDTF">2023-10-11T18:50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5F04C26E5D1D64E811D6EDC93ADF7AD</vt:lpwstr>
  </property>
  <property fmtid="{D5CDD505-2E9C-101B-9397-08002B2CF9AE}" pid="3" name="MSIP_Label_022f19bc-c0ef-436a-be43-be1adb274cf3_Enabled">
    <vt:lpwstr>true</vt:lpwstr>
  </property>
  <property fmtid="{D5CDD505-2E9C-101B-9397-08002B2CF9AE}" pid="4" name="MSIP_Label_022f19bc-c0ef-436a-be43-be1adb274cf3_SetDate">
    <vt:lpwstr>2023-09-28T19:40:38Z</vt:lpwstr>
  </property>
  <property fmtid="{D5CDD505-2E9C-101B-9397-08002B2CF9AE}" pid="5" name="MSIP_Label_022f19bc-c0ef-436a-be43-be1adb274cf3_Method">
    <vt:lpwstr>Standard</vt:lpwstr>
  </property>
  <property fmtid="{D5CDD505-2E9C-101B-9397-08002B2CF9AE}" pid="6" name="MSIP_Label_022f19bc-c0ef-436a-be43-be1adb274cf3_Name">
    <vt:lpwstr>Interno</vt:lpwstr>
  </property>
  <property fmtid="{D5CDD505-2E9C-101B-9397-08002B2CF9AE}" pid="7" name="MSIP_Label_022f19bc-c0ef-436a-be43-be1adb274cf3_SiteId">
    <vt:lpwstr>93546618-e20a-4fd3-a884-9e33ca7234a7</vt:lpwstr>
  </property>
  <property fmtid="{D5CDD505-2E9C-101B-9397-08002B2CF9AE}" pid="8" name="MSIP_Label_022f19bc-c0ef-436a-be43-be1adb274cf3_ActionId">
    <vt:lpwstr>c8125468-4d03-4852-8131-085c70332e42</vt:lpwstr>
  </property>
  <property fmtid="{D5CDD505-2E9C-101B-9397-08002B2CF9AE}" pid="9" name="MSIP_Label_022f19bc-c0ef-436a-be43-be1adb274cf3_ContentBits">
    <vt:lpwstr>1</vt:lpwstr>
  </property>
  <property fmtid="{D5CDD505-2E9C-101B-9397-08002B2CF9AE}" pid="10" name="ClassificationContentMarkingHeaderLocations">
    <vt:lpwstr>Tema do Office:8</vt:lpwstr>
  </property>
  <property fmtid="{D5CDD505-2E9C-101B-9397-08002B2CF9AE}" pid="11" name="ClassificationContentMarkingHeaderText">
    <vt:lpwstr>Uso Interno CPFL</vt:lpwstr>
  </property>
  <property fmtid="{D5CDD505-2E9C-101B-9397-08002B2CF9AE}" pid="12" name="MediaServiceImageTags">
    <vt:lpwstr/>
  </property>
</Properties>
</file>